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861" r:id="rId4"/>
  </p:sldMasterIdLst>
  <p:notesMasterIdLst>
    <p:notesMasterId r:id="rId13"/>
  </p:notesMasterIdLst>
  <p:handoutMasterIdLst>
    <p:handoutMasterId r:id="rId14"/>
  </p:handoutMasterIdLst>
  <p:sldIdLst>
    <p:sldId id="257" r:id="rId5"/>
    <p:sldId id="260" r:id="rId6"/>
    <p:sldId id="261" r:id="rId7"/>
    <p:sldId id="268" r:id="rId8"/>
    <p:sldId id="266" r:id="rId9"/>
    <p:sldId id="262" r:id="rId10"/>
    <p:sldId id="269" r:id="rId11"/>
    <p:sldId id="267" r:id="rId12"/>
  </p:sldIdLst>
  <p:sldSz cx="9144000" cy="5143500" type="screen16x9"/>
  <p:notesSz cx="6858000" cy="9144000"/>
  <p:custDataLst>
    <p:tags r:id="rId15"/>
  </p:custDataLst>
  <p:defaultTextStyle>
    <a:defPPr>
      <a:defRPr lang="en-US"/>
    </a:defPPr>
    <a:lvl1pPr algn="ctr" rtl="0" fontAlgn="base">
      <a:lnSpc>
        <a:spcPct val="90000"/>
      </a:lnSpc>
      <a:spcBef>
        <a:spcPct val="20000"/>
      </a:spcBef>
      <a:spcAft>
        <a:spcPct val="0"/>
      </a:spcAft>
      <a:buClr>
        <a:schemeClr val="tx1"/>
      </a:buClr>
      <a:buChar char="•"/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1pPr>
    <a:lvl2pPr marL="389582" algn="ctr" rtl="0" fontAlgn="base">
      <a:lnSpc>
        <a:spcPct val="90000"/>
      </a:lnSpc>
      <a:spcBef>
        <a:spcPct val="20000"/>
      </a:spcBef>
      <a:spcAft>
        <a:spcPct val="0"/>
      </a:spcAft>
      <a:buClr>
        <a:schemeClr val="tx1"/>
      </a:buClr>
      <a:buChar char="•"/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2pPr>
    <a:lvl3pPr marL="779163" algn="ctr" rtl="0" fontAlgn="base">
      <a:lnSpc>
        <a:spcPct val="90000"/>
      </a:lnSpc>
      <a:spcBef>
        <a:spcPct val="20000"/>
      </a:spcBef>
      <a:spcAft>
        <a:spcPct val="0"/>
      </a:spcAft>
      <a:buClr>
        <a:schemeClr val="tx1"/>
      </a:buClr>
      <a:buChar char="•"/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3pPr>
    <a:lvl4pPr marL="1168745" algn="ctr" rtl="0" fontAlgn="base">
      <a:lnSpc>
        <a:spcPct val="90000"/>
      </a:lnSpc>
      <a:spcBef>
        <a:spcPct val="20000"/>
      </a:spcBef>
      <a:spcAft>
        <a:spcPct val="0"/>
      </a:spcAft>
      <a:buClr>
        <a:schemeClr val="tx1"/>
      </a:buClr>
      <a:buChar char="•"/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4pPr>
    <a:lvl5pPr marL="1558326" algn="ctr" rtl="0" fontAlgn="base">
      <a:lnSpc>
        <a:spcPct val="90000"/>
      </a:lnSpc>
      <a:spcBef>
        <a:spcPct val="20000"/>
      </a:spcBef>
      <a:spcAft>
        <a:spcPct val="0"/>
      </a:spcAft>
      <a:buClr>
        <a:schemeClr val="tx1"/>
      </a:buClr>
      <a:buChar char="•"/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5pPr>
    <a:lvl6pPr marL="1947908" algn="l" defTabSz="779163" rtl="0" eaLnBrk="1" latinLnBrk="0" hangingPunct="1"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6pPr>
    <a:lvl7pPr marL="2337489" algn="l" defTabSz="779163" rtl="0" eaLnBrk="1" latinLnBrk="0" hangingPunct="1"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7pPr>
    <a:lvl8pPr marL="2727071" algn="l" defTabSz="779163" rtl="0" eaLnBrk="1" latinLnBrk="0" hangingPunct="1"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8pPr>
    <a:lvl9pPr marL="3116652" algn="l" defTabSz="779163" rtl="0" eaLnBrk="1" latinLnBrk="0" hangingPunct="1"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13">
          <p15:clr>
            <a:srgbClr val="A4A3A4"/>
          </p15:clr>
        </p15:guide>
        <p15:guide id="3" orient="horz" pos="1495">
          <p15:clr>
            <a:srgbClr val="A4A3A4"/>
          </p15:clr>
        </p15:guide>
        <p15:guide id="5" pos="557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asmus Snabb" initials="RS" lastIdx="1" clrIdx="0"/>
  <p:cmAuthor id="2" name="Rasmus Snabb" initials="RS [2]" lastIdx="1" clrIdx="1"/>
  <p:cmAuthor id="3" name="Helén Magnusson" initials="HM" lastIdx="14" clrIdx="2">
    <p:extLst>
      <p:ext uri="{19B8F6BF-5375-455C-9EA6-DF929625EA0E}">
        <p15:presenceInfo xmlns:p15="http://schemas.microsoft.com/office/powerpoint/2012/main" userId="a64114b64ae40712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A4B4"/>
    <a:srgbClr val="112569"/>
    <a:srgbClr val="031F6D"/>
    <a:srgbClr val="003082"/>
    <a:srgbClr val="000000"/>
    <a:srgbClr val="EAEAEA"/>
    <a:srgbClr val="357388"/>
    <a:srgbClr val="FDDF98"/>
    <a:srgbClr val="BB5206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4694"/>
  </p:normalViewPr>
  <p:slideViewPr>
    <p:cSldViewPr snapToGrid="0">
      <p:cViewPr varScale="1">
        <p:scale>
          <a:sx n="161" d="100"/>
          <a:sy n="161" d="100"/>
        </p:scale>
        <p:origin x="784" y="200"/>
      </p:cViewPr>
      <p:guideLst>
        <p:guide orient="horz" pos="2913"/>
        <p:guide orient="horz" pos="1495"/>
        <p:guide pos="55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Company confidential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C4BB92C-A22D-4A27-B76D-688F39688FEC}" type="datetime1">
              <a:rPr lang="fi-FI" smtClean="0"/>
              <a:t>24.8.2023</a:t>
            </a:fld>
            <a:endParaRPr lang="en-US" altLang="zh-CN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© Fazer. All rights reserved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7345AFF-34C7-417E-8E12-E4F370CCD781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633829861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Company confidential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1FA16522-1AD0-4097-8454-5114D31BD4D8}" type="datetime1">
              <a:rPr lang="fi-FI" smtClean="0"/>
              <a:t>24.8.2023</a:t>
            </a:fld>
            <a:endParaRPr lang="en-US" altLang="zh-CN"/>
          </a:p>
        </p:txBody>
      </p:sp>
      <p:sp>
        <p:nvSpPr>
          <p:cNvPr id="327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© Fazer. All rights reserved</a:t>
            </a:r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35B8CFC-C6C6-4A83-AAA3-6CDCD5EF9CF7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201505768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宋体" pitchFamily="2" charset="-122"/>
        <a:cs typeface="Arial" charset="0"/>
      </a:defRPr>
    </a:lvl1pPr>
    <a:lvl2pPr marL="389582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宋体" pitchFamily="2" charset="-122"/>
        <a:cs typeface="Arial" charset="0"/>
      </a:defRPr>
    </a:lvl2pPr>
    <a:lvl3pPr marL="779163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宋体" pitchFamily="2" charset="-122"/>
        <a:cs typeface="Arial" charset="0"/>
      </a:defRPr>
    </a:lvl3pPr>
    <a:lvl4pPr marL="1168745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宋体" pitchFamily="2" charset="-122"/>
        <a:cs typeface="Arial" charset="0"/>
      </a:defRPr>
    </a:lvl4pPr>
    <a:lvl5pPr marL="1558326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宋体" pitchFamily="2" charset="-122"/>
        <a:cs typeface="Arial" charset="0"/>
      </a:defRPr>
    </a:lvl5pPr>
    <a:lvl6pPr marL="1947908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489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071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6652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sidhuvu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r>
              <a:rPr lang="en-US" altLang="zh-CN"/>
              <a:t>Company confidential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1FA16522-1AD0-4097-8454-5114D31BD4D8}" type="datetime1">
              <a:rPr lang="fi-FI" smtClean="0"/>
              <a:t>24.8.2023</a:t>
            </a:fld>
            <a:endParaRPr lang="en-US" altLang="zh-CN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en-US" altLang="zh-CN"/>
              <a:t>© Fazer. All rights reserved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35B8CFC-C6C6-4A83-AAA3-6CDCD5EF9CF7}" type="slidenum">
              <a:rPr lang="en-US" altLang="zh-CN" smtClean="0"/>
              <a:pPr>
                <a:defRPr/>
              </a:pPr>
              <a:t>2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4599150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expressiv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3"/>
          <p:cNvSpPr>
            <a:spLocks noGrp="1"/>
          </p:cNvSpPr>
          <p:nvPr>
            <p:ph type="title"/>
          </p:nvPr>
        </p:nvSpPr>
        <p:spPr>
          <a:xfrm>
            <a:off x="431998" y="2211710"/>
            <a:ext cx="5796186" cy="1442290"/>
          </a:xfrm>
        </p:spPr>
        <p:txBody>
          <a:bodyPr anchor="b">
            <a:norm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8" name="Alaotsikko 2"/>
          <p:cNvSpPr>
            <a:spLocks noGrp="1"/>
          </p:cNvSpPr>
          <p:nvPr>
            <p:ph type="subTitle" idx="1" hasCustomPrompt="1"/>
          </p:nvPr>
        </p:nvSpPr>
        <p:spPr>
          <a:xfrm>
            <a:off x="431999" y="3795886"/>
            <a:ext cx="5796185" cy="9631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  <a:lvl2pPr marL="389582" indent="0" algn="ctr">
              <a:buNone/>
              <a:defRPr/>
            </a:lvl2pPr>
            <a:lvl3pPr marL="779163" indent="0" algn="ctr">
              <a:buNone/>
              <a:defRPr/>
            </a:lvl3pPr>
            <a:lvl4pPr marL="1168745" indent="0" algn="ctr">
              <a:buNone/>
              <a:defRPr/>
            </a:lvl4pPr>
            <a:lvl5pPr marL="1558326" indent="0" algn="ctr">
              <a:buNone/>
              <a:defRPr/>
            </a:lvl5pPr>
            <a:lvl6pPr marL="1947908" indent="0" algn="ctr">
              <a:buNone/>
              <a:defRPr/>
            </a:lvl6pPr>
            <a:lvl7pPr marL="2337489" indent="0" algn="ctr">
              <a:buNone/>
              <a:defRPr/>
            </a:lvl7pPr>
            <a:lvl8pPr marL="2727071" indent="0" algn="ctr">
              <a:buNone/>
              <a:defRPr/>
            </a:lvl8pPr>
            <a:lvl9pPr marL="3116652" indent="0" algn="ctr">
              <a:buNone/>
              <a:defRPr/>
            </a:lvl9pPr>
          </a:lstStyle>
          <a:p>
            <a:r>
              <a:rPr lang="en-US"/>
              <a:t>Click to edit Master subtitle style </a:t>
            </a:r>
            <a:endParaRPr lang="fi-FI"/>
          </a:p>
        </p:txBody>
      </p:sp>
      <p:grpSp>
        <p:nvGrpSpPr>
          <p:cNvPr id="10" name="Ryhmä 9"/>
          <p:cNvGrpSpPr/>
          <p:nvPr/>
        </p:nvGrpSpPr>
        <p:grpSpPr>
          <a:xfrm>
            <a:off x="429904" y="424077"/>
            <a:ext cx="1624084" cy="1621963"/>
            <a:chOff x="8127242" y="116975"/>
            <a:chExt cx="871657" cy="870519"/>
          </a:xfrm>
        </p:grpSpPr>
        <p:sp>
          <p:nvSpPr>
            <p:cNvPr id="11" name="Freeform 5"/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AutoShape 3"/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7"/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8"/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9"/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10"/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6" name="Päivämäärän paikkamerkki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A39CDA5-6BE2-4BED-8CB5-68243AEF15C0}" type="datetime1">
              <a:rPr lang="fi-FI" smtClean="0"/>
              <a:t>24.8.2023</a:t>
            </a:fld>
            <a:endParaRPr lang="fi-FI"/>
          </a:p>
        </p:txBody>
      </p:sp>
      <p:sp>
        <p:nvSpPr>
          <p:cNvPr id="9" name="Alatunnisteen paikkamerkki 8"/>
          <p:cNvSpPr>
            <a:spLocks noGrp="1"/>
          </p:cNvSpPr>
          <p:nvPr>
            <p:ph type="ftr" sz="quarter" idx="11"/>
          </p:nvPr>
        </p:nvSpPr>
        <p:spPr>
          <a:xfrm>
            <a:off x="5828606" y="4839606"/>
            <a:ext cx="3099393" cy="108347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FFFFFF"/>
                </a:solidFill>
              </a:defRPr>
            </a:lvl1pPr>
          </a:lstStyle>
          <a:p>
            <a:r>
              <a:rPr lang="en-US"/>
              <a:t>Company confidential © Fazer. All rights reserved</a:t>
            </a:r>
          </a:p>
        </p:txBody>
      </p:sp>
      <p:sp>
        <p:nvSpPr>
          <p:cNvPr id="18" name="Dian numeron paikkamerkki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64C005B-602C-4344-ACAE-E28C9D614D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20" name="Ryhmä 9">
            <a:extLst>
              <a:ext uri="{FF2B5EF4-FFF2-40B4-BE49-F238E27FC236}">
                <a16:creationId xmlns:a16="http://schemas.microsoft.com/office/drawing/2014/main" id="{16BF6447-D579-A247-897C-26C9707750FF}"/>
              </a:ext>
            </a:extLst>
          </p:cNvPr>
          <p:cNvGrpSpPr/>
          <p:nvPr userDrawn="1"/>
        </p:nvGrpSpPr>
        <p:grpSpPr>
          <a:xfrm>
            <a:off x="429904" y="424077"/>
            <a:ext cx="1624084" cy="1621963"/>
            <a:chOff x="8127242" y="116975"/>
            <a:chExt cx="871657" cy="870519"/>
          </a:xfrm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D88FEA1C-4880-8642-8C59-AAF8F6AA13C5}"/>
                </a:ext>
              </a:extLst>
            </p:cNvPr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2C43DCD3-7E30-CC49-B94A-770D61BE9FAC}"/>
                </a:ext>
              </a:extLst>
            </p:cNvPr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3" name="AutoShape 3">
              <a:extLst>
                <a:ext uri="{FF2B5EF4-FFF2-40B4-BE49-F238E27FC236}">
                  <a16:creationId xmlns:a16="http://schemas.microsoft.com/office/drawing/2014/main" id="{2AA17CE7-33C9-1F4C-A220-DDCC3CDBA75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F4F6B700-DBD0-3847-A17B-1EABCAE14160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690C4EBD-8F02-2A4A-B60C-6A65034F67A1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59D00EE8-55D9-C84E-BB10-E94EB628E42A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2615531E-C75C-C447-A201-ACF1AF41FC7B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652517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lue">
    <p:bg>
      <p:bgPr>
        <a:solidFill>
          <a:srgbClr val="1125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3998" cy="5143498"/>
          </a:xfrm>
          <a:prstGeom prst="rect">
            <a:avLst/>
          </a:prstGeom>
        </p:spPr>
      </p:pic>
      <p:sp>
        <p:nvSpPr>
          <p:cNvPr id="10" name="Rectangle 29"/>
          <p:cNvSpPr>
            <a:spLocks noGrp="1" noChangeArrowheads="1"/>
          </p:cNvSpPr>
          <p:nvPr>
            <p:ph type="title"/>
          </p:nvPr>
        </p:nvSpPr>
        <p:spPr bwMode="auto">
          <a:xfrm>
            <a:off x="432000" y="195486"/>
            <a:ext cx="7114442" cy="23762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32000" y="2679764"/>
            <a:ext cx="7107927" cy="20522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9" name="Ryhmä 8"/>
          <p:cNvGrpSpPr/>
          <p:nvPr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11" name="Freeform 5"/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AutoShape 3"/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7"/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9"/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10"/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Päivämäärän paikkamerkki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24.8.2023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B83FD07-DB7D-E148-AA87-E4E1850246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3998" cy="5143498"/>
          </a:xfrm>
          <a:prstGeom prst="rect">
            <a:avLst/>
          </a:prstGeom>
        </p:spPr>
      </p:pic>
      <p:grpSp>
        <p:nvGrpSpPr>
          <p:cNvPr id="20" name="Ryhmä 8">
            <a:extLst>
              <a:ext uri="{FF2B5EF4-FFF2-40B4-BE49-F238E27FC236}">
                <a16:creationId xmlns:a16="http://schemas.microsoft.com/office/drawing/2014/main" id="{701998B6-8501-174F-97E8-3DE7BF107DB1}"/>
              </a:ext>
            </a:extLst>
          </p:cNvPr>
          <p:cNvGrpSpPr/>
          <p:nvPr userDrawn="1"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E4C7965B-1C1C-8F4B-A806-C7AA5B4FF2B2}"/>
                </a:ext>
              </a:extLst>
            </p:cNvPr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66B1D947-6E27-0C42-96F2-99DF14C1549D}"/>
                </a:ext>
              </a:extLst>
            </p:cNvPr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3" name="AutoShape 3">
              <a:extLst>
                <a:ext uri="{FF2B5EF4-FFF2-40B4-BE49-F238E27FC236}">
                  <a16:creationId xmlns:a16="http://schemas.microsoft.com/office/drawing/2014/main" id="{029723DF-3865-2F41-BE99-4A3079B0740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46CED702-5633-8240-9594-E93F68EF3D2C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37D4E51C-9F0F-F949-875F-FEE689F8E8C4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D444AE7C-9EDA-984C-B603-10866673A7B5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45AE8DC4-A9E6-6342-8773-DF2B0E19661F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732205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wa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046"/>
            <a:ext cx="9143998" cy="5143498"/>
          </a:xfrm>
          <a:prstGeom prst="rect">
            <a:avLst/>
          </a:prstGeom>
        </p:spPr>
      </p:pic>
      <p:sp>
        <p:nvSpPr>
          <p:cNvPr id="7" name="Rectangle 29"/>
          <p:cNvSpPr>
            <a:spLocks noGrp="1" noChangeArrowheads="1"/>
          </p:cNvSpPr>
          <p:nvPr>
            <p:ph type="title"/>
          </p:nvPr>
        </p:nvSpPr>
        <p:spPr bwMode="auto">
          <a:xfrm>
            <a:off x="432000" y="195486"/>
            <a:ext cx="7114442" cy="23762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32000" y="2679764"/>
            <a:ext cx="7107927" cy="20522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Ryhmä 9"/>
          <p:cNvGrpSpPr/>
          <p:nvPr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11" name="Freeform 5"/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AutoShape 3"/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8"/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9"/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grpSp>
        <p:nvGrpSpPr>
          <p:cNvPr id="29" name="Ryhmä 1"/>
          <p:cNvGrpSpPr/>
          <p:nvPr/>
        </p:nvGrpSpPr>
        <p:grpSpPr>
          <a:xfrm>
            <a:off x="8128800" y="118800"/>
            <a:ext cx="871657" cy="870519"/>
            <a:chOff x="8127242" y="116975"/>
            <a:chExt cx="871657" cy="870519"/>
          </a:xfrm>
        </p:grpSpPr>
        <p:sp>
          <p:nvSpPr>
            <p:cNvPr id="30" name="Freeform 5"/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1" name="Freeform 6"/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2" name="AutoShape 3"/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3" name="Freeform 7"/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4" name="Freeform 8"/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5" name="Freeform 9"/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6" name="Freeform 10"/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Päivämäärän paikkamerkki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24.8.2023</a:t>
            </a:fld>
            <a:endParaRPr lang="fi-FI"/>
          </a:p>
        </p:txBody>
      </p:sp>
      <p:sp>
        <p:nvSpPr>
          <p:cNvPr id="3" name="Alatunnisteen paikkamerkki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226564AF-05CA-4248-B377-CA202B9278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046"/>
            <a:ext cx="9143998" cy="5143498"/>
          </a:xfrm>
          <a:prstGeom prst="rect">
            <a:avLst/>
          </a:prstGeom>
        </p:spPr>
      </p:pic>
      <p:grpSp>
        <p:nvGrpSpPr>
          <p:cNvPr id="25" name="Ryhmä 9">
            <a:extLst>
              <a:ext uri="{FF2B5EF4-FFF2-40B4-BE49-F238E27FC236}">
                <a16:creationId xmlns:a16="http://schemas.microsoft.com/office/drawing/2014/main" id="{69715BDE-5894-F045-8796-1F1F937681CE}"/>
              </a:ext>
            </a:extLst>
          </p:cNvPr>
          <p:cNvGrpSpPr/>
          <p:nvPr userDrawn="1"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BE8DD59F-176D-FF4E-B7BD-B4BB0E37CD9A}"/>
                </a:ext>
              </a:extLst>
            </p:cNvPr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553A3221-4AB9-C44F-859E-EDAB470CBAD5}"/>
                </a:ext>
              </a:extLst>
            </p:cNvPr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8" name="AutoShape 3">
              <a:extLst>
                <a:ext uri="{FF2B5EF4-FFF2-40B4-BE49-F238E27FC236}">
                  <a16:creationId xmlns:a16="http://schemas.microsoft.com/office/drawing/2014/main" id="{6917AC6E-CF11-5F49-99FF-EB3D602C09C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7" name="Freeform 7">
              <a:extLst>
                <a:ext uri="{FF2B5EF4-FFF2-40B4-BE49-F238E27FC236}">
                  <a16:creationId xmlns:a16="http://schemas.microsoft.com/office/drawing/2014/main" id="{38EABA3F-91C2-0B4A-99CC-3380EFFF1F18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8" name="Freeform 8">
              <a:extLst>
                <a:ext uri="{FF2B5EF4-FFF2-40B4-BE49-F238E27FC236}">
                  <a16:creationId xmlns:a16="http://schemas.microsoft.com/office/drawing/2014/main" id="{168A13A4-D338-3A41-BBC2-DC61ADAD64F8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9" name="Freeform 9">
              <a:extLst>
                <a:ext uri="{FF2B5EF4-FFF2-40B4-BE49-F238E27FC236}">
                  <a16:creationId xmlns:a16="http://schemas.microsoft.com/office/drawing/2014/main" id="{EF86E850-6669-4C47-9CF5-752480D6BF16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0" name="Freeform 10">
              <a:extLst>
                <a:ext uri="{FF2B5EF4-FFF2-40B4-BE49-F238E27FC236}">
                  <a16:creationId xmlns:a16="http://schemas.microsoft.com/office/drawing/2014/main" id="{550D750F-B26C-AB4E-AA55-A3A405AD3F4B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grpSp>
        <p:nvGrpSpPr>
          <p:cNvPr id="41" name="Ryhmä 1">
            <a:extLst>
              <a:ext uri="{FF2B5EF4-FFF2-40B4-BE49-F238E27FC236}">
                <a16:creationId xmlns:a16="http://schemas.microsoft.com/office/drawing/2014/main" id="{E1946241-531E-5248-A43B-EA01D840F031}"/>
              </a:ext>
            </a:extLst>
          </p:cNvPr>
          <p:cNvGrpSpPr/>
          <p:nvPr userDrawn="1"/>
        </p:nvGrpSpPr>
        <p:grpSpPr>
          <a:xfrm>
            <a:off x="8128800" y="118800"/>
            <a:ext cx="871657" cy="870519"/>
            <a:chOff x="8127242" y="116975"/>
            <a:chExt cx="871657" cy="870519"/>
          </a:xfrm>
        </p:grpSpPr>
        <p:sp>
          <p:nvSpPr>
            <p:cNvPr id="42" name="Freeform 5">
              <a:extLst>
                <a:ext uri="{FF2B5EF4-FFF2-40B4-BE49-F238E27FC236}">
                  <a16:creationId xmlns:a16="http://schemas.microsoft.com/office/drawing/2014/main" id="{83FC62F4-5F16-864A-9743-B5FCA0BC3D6C}"/>
                </a:ext>
              </a:extLst>
            </p:cNvPr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3" name="Freeform 6">
              <a:extLst>
                <a:ext uri="{FF2B5EF4-FFF2-40B4-BE49-F238E27FC236}">
                  <a16:creationId xmlns:a16="http://schemas.microsoft.com/office/drawing/2014/main" id="{5CEFC13E-C064-364B-82CE-9BC6C9C42E74}"/>
                </a:ext>
              </a:extLst>
            </p:cNvPr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4" name="AutoShape 3">
              <a:extLst>
                <a:ext uri="{FF2B5EF4-FFF2-40B4-BE49-F238E27FC236}">
                  <a16:creationId xmlns:a16="http://schemas.microsoft.com/office/drawing/2014/main" id="{CA48A914-36D1-0B4F-A538-DB4D2CBE1D9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5" name="Freeform 7">
              <a:extLst>
                <a:ext uri="{FF2B5EF4-FFF2-40B4-BE49-F238E27FC236}">
                  <a16:creationId xmlns:a16="http://schemas.microsoft.com/office/drawing/2014/main" id="{7D74D0B7-6FEF-F64D-9B0F-84ABC94BE658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6" name="Freeform 8">
              <a:extLst>
                <a:ext uri="{FF2B5EF4-FFF2-40B4-BE49-F238E27FC236}">
                  <a16:creationId xmlns:a16="http://schemas.microsoft.com/office/drawing/2014/main" id="{A274A143-EF14-4B4F-B2D3-3D486B1F44DC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7" name="Freeform 9">
              <a:extLst>
                <a:ext uri="{FF2B5EF4-FFF2-40B4-BE49-F238E27FC236}">
                  <a16:creationId xmlns:a16="http://schemas.microsoft.com/office/drawing/2014/main" id="{4F481132-D2D5-F444-8B9A-47F8406143EF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8" name="Freeform 10">
              <a:extLst>
                <a:ext uri="{FF2B5EF4-FFF2-40B4-BE49-F238E27FC236}">
                  <a16:creationId xmlns:a16="http://schemas.microsoft.com/office/drawing/2014/main" id="{E7D4051D-8520-0841-AB05-88FF9534D9F4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53970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24.8.2023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81175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24.8.2023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64373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432000" y="1221583"/>
            <a:ext cx="3851968" cy="270272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2000" b="0">
                <a:solidFill>
                  <a:schemeClr val="accent2"/>
                </a:solidFill>
              </a:defRPr>
            </a:lvl1pPr>
            <a:lvl2pPr marL="389582" indent="0">
              <a:buNone/>
              <a:defRPr sz="1700" b="1"/>
            </a:lvl2pPr>
            <a:lvl3pPr marL="779163" indent="0">
              <a:buNone/>
              <a:defRPr sz="1500" b="1"/>
            </a:lvl3pPr>
            <a:lvl4pPr marL="1168745" indent="0">
              <a:buNone/>
              <a:defRPr sz="1400" b="1"/>
            </a:lvl4pPr>
            <a:lvl5pPr marL="1558326" indent="0">
              <a:buNone/>
              <a:defRPr sz="1400" b="1"/>
            </a:lvl5pPr>
            <a:lvl6pPr marL="1947908" indent="0">
              <a:buNone/>
              <a:defRPr sz="1400" b="1"/>
            </a:lvl6pPr>
            <a:lvl7pPr marL="2337489" indent="0">
              <a:buNone/>
              <a:defRPr sz="1400" b="1"/>
            </a:lvl7pPr>
            <a:lvl8pPr marL="2727071" indent="0">
              <a:buNone/>
              <a:defRPr sz="1400" b="1"/>
            </a:lvl8pPr>
            <a:lvl9pPr marL="3116652" indent="0">
              <a:buNone/>
              <a:defRPr sz="1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4572000" y="1221583"/>
            <a:ext cx="4355999" cy="270272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2000" b="0">
                <a:solidFill>
                  <a:schemeClr val="accent2"/>
                </a:solidFill>
              </a:defRPr>
            </a:lvl1pPr>
            <a:lvl2pPr marL="389582" indent="0">
              <a:buNone/>
              <a:defRPr sz="1700" b="1"/>
            </a:lvl2pPr>
            <a:lvl3pPr marL="779163" indent="0">
              <a:buNone/>
              <a:defRPr sz="1500" b="1"/>
            </a:lvl3pPr>
            <a:lvl4pPr marL="1168745" indent="0">
              <a:buNone/>
              <a:defRPr sz="1400" b="1"/>
            </a:lvl4pPr>
            <a:lvl5pPr marL="1558326" indent="0">
              <a:buNone/>
              <a:defRPr sz="1400" b="1"/>
            </a:lvl5pPr>
            <a:lvl6pPr marL="1947908" indent="0">
              <a:buNone/>
              <a:defRPr sz="1400" b="1"/>
            </a:lvl6pPr>
            <a:lvl7pPr marL="2337489" indent="0">
              <a:buNone/>
              <a:defRPr sz="1400" b="1"/>
            </a:lvl7pPr>
            <a:lvl8pPr marL="2727071" indent="0">
              <a:buNone/>
              <a:defRPr sz="1400" b="1"/>
            </a:lvl8pPr>
            <a:lvl9pPr marL="3116652" indent="0">
              <a:buNone/>
              <a:defRPr sz="1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3"/>
          </p:nvPr>
        </p:nvSpPr>
        <p:spPr>
          <a:xfrm>
            <a:off x="432001" y="1563638"/>
            <a:ext cx="3851967" cy="3132534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4"/>
          </p:nvPr>
        </p:nvSpPr>
        <p:spPr>
          <a:xfrm>
            <a:off x="4572000" y="1563638"/>
            <a:ext cx="4355999" cy="3132534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24.8.2023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19151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4572000" y="1221583"/>
            <a:ext cx="4355999" cy="340280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432000" y="1221583"/>
            <a:ext cx="3923976" cy="3402806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24.8.2023</a:t>
            </a:fld>
            <a:endParaRPr lang="fi-FI"/>
          </a:p>
        </p:txBody>
      </p:sp>
      <p:sp>
        <p:nvSpPr>
          <p:cNvPr id="7" name="Alatunnisteen paikkamerkki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10" name="Dian numeron paikkamerkki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50243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 th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6641999" y="1221583"/>
            <a:ext cx="2286000" cy="340280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/>
          </a:p>
        </p:txBody>
      </p:sp>
      <p:sp>
        <p:nvSpPr>
          <p:cNvPr id="7" name="Content Placeholder 8"/>
          <p:cNvSpPr>
            <a:spLocks noGrp="1"/>
          </p:cNvSpPr>
          <p:nvPr>
            <p:ph sz="quarter" idx="14"/>
          </p:nvPr>
        </p:nvSpPr>
        <p:spPr>
          <a:xfrm>
            <a:off x="432000" y="1221583"/>
            <a:ext cx="5940200" cy="3402806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8" name="Päivämäärän paikkamerkki 7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24.8.2023</a:t>
            </a:fld>
            <a:endParaRPr lang="fi-FI"/>
          </a:p>
        </p:txBody>
      </p:sp>
      <p:sp>
        <p:nvSpPr>
          <p:cNvPr id="9" name="Alatunnisteen paikkamerkki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10" name="Dian numeron paikkamerkki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17722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6804248" y="3003811"/>
            <a:ext cx="2123751" cy="1620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4572000" y="1221583"/>
            <a:ext cx="4356000" cy="16742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4572000" y="3003811"/>
            <a:ext cx="2124000" cy="1620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/>
          </a:p>
        </p:txBody>
      </p:sp>
      <p:sp>
        <p:nvSpPr>
          <p:cNvPr id="11" name="Content Placeholder 8"/>
          <p:cNvSpPr>
            <a:spLocks noGrp="1"/>
          </p:cNvSpPr>
          <p:nvPr>
            <p:ph sz="quarter" idx="16"/>
          </p:nvPr>
        </p:nvSpPr>
        <p:spPr>
          <a:xfrm>
            <a:off x="432001" y="1221583"/>
            <a:ext cx="3851967" cy="3402806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24.8.2023</a:t>
            </a:fld>
            <a:endParaRPr lang="fi-FI"/>
          </a:p>
        </p:txBody>
      </p:sp>
      <p:sp>
        <p:nvSpPr>
          <p:cNvPr id="7" name="Alatunnisteen paikkamerkki 6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12" name="Dian numeron paikkamerkki 11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35712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426072" y="1221583"/>
            <a:ext cx="8280000" cy="340280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2" name="Päivämäärän paikkamerkki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24.8.2023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99213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a Placeholder 3"/>
          <p:cNvSpPr>
            <a:spLocks noGrp="1"/>
          </p:cNvSpPr>
          <p:nvPr>
            <p:ph type="media" sz="quarter" idx="13"/>
          </p:nvPr>
        </p:nvSpPr>
        <p:spPr>
          <a:xfrm>
            <a:off x="215998" y="195486"/>
            <a:ext cx="8712001" cy="45365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fi-FI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24.8.2023</a:t>
            </a:fld>
            <a:endParaRPr lang="fi-FI"/>
          </a:p>
        </p:txBody>
      </p:sp>
      <p:sp>
        <p:nvSpPr>
          <p:cNvPr id="7" name="Alatunnisteen paikkamerkki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8" name="Dian numeron paikkamerkki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623801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Warm heading &amp; Warm bulle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Päivämäärän paikkamerkki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24.8.2023</a:t>
            </a:fld>
            <a:endParaRPr lang="fi-FI"/>
          </a:p>
        </p:txBody>
      </p:sp>
      <p:sp>
        <p:nvSpPr>
          <p:cNvPr id="11" name="Alatunnisteen paikkamerkki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12" name="Dian numeron paikkamerkki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7596189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inal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68DFC261-3E2E-854D-B29B-F7808AA9C5C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7" y="0"/>
            <a:ext cx="9139277" cy="51435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49B40DA-97D2-F841-8483-08297773C3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7" y="0"/>
            <a:ext cx="9139277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8869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436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553846" y="214296"/>
            <a:ext cx="8048553" cy="486000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46890" y="864000"/>
            <a:ext cx="8048553" cy="3375000"/>
          </a:xfrm>
        </p:spPr>
        <p:txBody>
          <a:bodyPr/>
          <a:lstStyle>
            <a:lvl1pPr marL="135731" indent="-135731">
              <a:lnSpc>
                <a:spcPct val="100000"/>
              </a:lnSpc>
              <a:spcBef>
                <a:spcPts val="450"/>
              </a:spcBef>
              <a:defRPr/>
            </a:lvl1pPr>
            <a:lvl2pPr marL="405000" indent="-135000">
              <a:defRPr/>
            </a:lvl2pPr>
            <a:lvl3pPr marL="405000" indent="-135000">
              <a:lnSpc>
                <a:spcPct val="100000"/>
              </a:lnSpc>
              <a:spcBef>
                <a:spcPts val="450"/>
              </a:spcBef>
              <a:buFont typeface="Times New Roman" pitchFamily="18" charset="0"/>
              <a:buChar char="-"/>
              <a:defRPr sz="1350"/>
            </a:lvl3pPr>
            <a:lvl4pPr marL="675000" indent="-135000">
              <a:lnSpc>
                <a:spcPct val="100000"/>
              </a:lnSpc>
              <a:spcBef>
                <a:spcPts val="450"/>
              </a:spcBef>
              <a:buFont typeface="Times New Roman" pitchFamily="18" charset="0"/>
              <a:buChar char="-"/>
              <a:defRPr sz="1350">
                <a:latin typeface="ITC Highlander Std Book" pitchFamily="50" charset="0"/>
              </a:defRPr>
            </a:lvl4pPr>
            <a:lvl5pPr>
              <a:buNone/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</p:spTree>
    <p:extLst>
      <p:ext uri="{BB962C8B-B14F-4D97-AF65-F5344CB8AC3E}">
        <p14:creationId xmlns:p14="http://schemas.microsoft.com/office/powerpoint/2010/main" val="13228424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Warm heading &amp; Blue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1pPr>
              <a:buClr>
                <a:schemeClr val="tx1"/>
              </a:buCl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 sz="14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Päivämäärän paikkamerkki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24.8.2023</a:t>
            </a:fld>
            <a:endParaRPr lang="fi-FI"/>
          </a:p>
        </p:txBody>
      </p:sp>
      <p:sp>
        <p:nvSpPr>
          <p:cNvPr id="7" name="Alatunnisteen paikkamerkki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11" name="Dian numeron paikkamerkki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963698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heading &amp; Blue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1pPr>
              <a:buClr>
                <a:schemeClr val="tx1"/>
              </a:buCl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 sz="14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24.8.2023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6601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heading &amp; Warm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 sz="1400"/>
            </a:lvl4pPr>
            <a:lvl5pPr>
              <a:buClr>
                <a:schemeClr val="tx2"/>
              </a:buCl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24.8.2023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40101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611560" y="1116000"/>
            <a:ext cx="7920880" cy="3600000"/>
          </a:xfrm>
        </p:spPr>
        <p:txBody>
          <a:bodyPr>
            <a:normAutofit/>
          </a:bodyPr>
          <a:lstStyle>
            <a:lvl1pPr marL="0" indent="0" algn="ctr">
              <a:buClr>
                <a:schemeClr val="tx2"/>
              </a:buClr>
              <a:buNone/>
              <a:defRPr/>
            </a:lvl1pPr>
            <a:lvl2pPr marL="227256" indent="0" algn="ctr">
              <a:buClr>
                <a:schemeClr val="tx2"/>
              </a:buClr>
              <a:buNone/>
              <a:defRPr/>
            </a:lvl2pPr>
            <a:lvl3pPr marL="459923" indent="0" algn="ctr">
              <a:buClr>
                <a:schemeClr val="tx2"/>
              </a:buClr>
              <a:buNone/>
              <a:defRPr/>
            </a:lvl3pPr>
            <a:lvl4pPr marL="687179" indent="0" algn="ctr">
              <a:buClr>
                <a:schemeClr val="tx2"/>
              </a:buClr>
              <a:buNone/>
              <a:defRPr sz="1400"/>
            </a:lvl4pPr>
            <a:lvl5pPr marL="913081" indent="0" algn="ctr">
              <a:buClr>
                <a:schemeClr val="tx2"/>
              </a:buClr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560" y="144000"/>
            <a:ext cx="7920880" cy="827999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24.8.2023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16710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image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7985553" cy="51435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144000"/>
            <a:ext cx="7380359" cy="8279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1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709948" y="4839606"/>
            <a:ext cx="3099393" cy="108347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algn="r"/>
            <a:r>
              <a:rPr lang="en-US"/>
              <a:t>Company confidential © Fazer. All rights reserved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 b="1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>
              <a:defRPr/>
            </a:pPr>
            <a:fld id="{5E3F96E3-49E0-442E-AFE6-A80E8118D25F}" type="datetime1">
              <a:rPr lang="fi-FI" smtClean="0"/>
              <a:t>24.8.2023</a:t>
            </a:fld>
            <a:endParaRPr lang="fi-FI"/>
          </a:p>
        </p:txBody>
      </p:sp>
      <p:sp>
        <p:nvSpPr>
          <p:cNvPr id="8" name="Content Placeholder 9"/>
          <p:cNvSpPr>
            <a:spLocks noGrp="1"/>
          </p:cNvSpPr>
          <p:nvPr>
            <p:ph sz="quarter" idx="14"/>
          </p:nvPr>
        </p:nvSpPr>
        <p:spPr>
          <a:xfrm>
            <a:off x="432000" y="1116000"/>
            <a:ext cx="7380359" cy="3600000"/>
          </a:xfrm>
        </p:spPr>
        <p:txBody>
          <a:bodyPr>
            <a:norm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83435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Blue elem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1" name="Ryhmä 1"/>
          <p:cNvGrpSpPr/>
          <p:nvPr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13" name="Freeform 5"/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6"/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AutoShape 3"/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9"/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10"/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4" name="Päivämäärän paikkamerkki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24.8.2023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8329E67-B4F3-C04E-8C0E-CC565D75CA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21" name="Ryhmä 1">
            <a:extLst>
              <a:ext uri="{FF2B5EF4-FFF2-40B4-BE49-F238E27FC236}">
                <a16:creationId xmlns:a16="http://schemas.microsoft.com/office/drawing/2014/main" id="{5611E65B-5C36-A045-B4F4-514978214122}"/>
              </a:ext>
            </a:extLst>
          </p:cNvPr>
          <p:cNvGrpSpPr/>
          <p:nvPr userDrawn="1"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670BC960-1BA1-FC49-AA52-DBB739D82CFA}"/>
                </a:ext>
              </a:extLst>
            </p:cNvPr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D0185B27-88D3-A543-83E3-7ED2294405F9}"/>
                </a:ext>
              </a:extLst>
            </p:cNvPr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4" name="AutoShape 3">
              <a:extLst>
                <a:ext uri="{FF2B5EF4-FFF2-40B4-BE49-F238E27FC236}">
                  <a16:creationId xmlns:a16="http://schemas.microsoft.com/office/drawing/2014/main" id="{F549DFCF-9BAA-DB4D-A9F4-20506F1A1BE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8F6F86F0-1998-3847-8904-7178584DAC63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5F1694F1-0542-414D-A5F5-24B3DA0FDC30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51BD5015-5FE9-CB41-B952-BC05483CC77A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B866ACE6-B48A-3C4A-8179-85F37FFC080E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985905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Warm elem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7956376" cy="5143500"/>
          </a:xfrm>
          <a:prstGeom prst="rect">
            <a:avLst/>
          </a:prstGeom>
        </p:spPr>
      </p:pic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1pPr>
              <a:buClr>
                <a:schemeClr val="tx1"/>
              </a:buCl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 sz="14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24.8.2023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7C0F944-824F-C942-A014-2AC3265FD6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7956376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3612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D2D0F1F-7BA6-CB08-4AE2-1A5AEFE5E1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193072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95" imgH="394" progId="TCLayout.ActiveDocument.1">
                  <p:embed/>
                </p:oleObj>
              </mc:Choice>
              <mc:Fallback>
                <p:oleObj name="think-cell Slide" r:id="rId24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2D0F1F-7BA6-CB08-4AE2-1A5AEFE5E1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8" name="Rectangle 29"/>
          <p:cNvSpPr>
            <a:spLocks noGrp="1" noChangeArrowheads="1"/>
          </p:cNvSpPr>
          <p:nvPr>
            <p:ph type="title"/>
          </p:nvPr>
        </p:nvSpPr>
        <p:spPr bwMode="auto">
          <a:xfrm>
            <a:off x="432000" y="144000"/>
            <a:ext cx="7553553" cy="827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2000" y="4840004"/>
            <a:ext cx="400920" cy="108011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700">
                <a:solidFill>
                  <a:schemeClr val="tx2"/>
                </a:solidFill>
                <a:ea typeface="MS PGothic" pitchFamily="34" charset="-128"/>
              </a:defRPr>
            </a:lvl1pPr>
          </a:lstStyle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000" y="1124873"/>
            <a:ext cx="7553553" cy="36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2" name="Rectangle 1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000" y="4839606"/>
            <a:ext cx="1063503" cy="1083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700" smtClean="0">
                <a:solidFill>
                  <a:schemeClr val="tx2"/>
                </a:solidFill>
                <a:ea typeface="MS PGothic" pitchFamily="34" charset="-128"/>
              </a:defRPr>
            </a:lvl1pPr>
          </a:lstStyle>
          <a:p>
            <a:pPr>
              <a:defRPr/>
            </a:pPr>
            <a:fld id="{F4ABB726-05D1-4F68-9AE2-B0609B3A0FA5}" type="datetime1">
              <a:rPr lang="fi-FI" smtClean="0"/>
              <a:t>24.8.2023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3"/>
          </p:nvPr>
        </p:nvSpPr>
        <p:spPr>
          <a:xfrm>
            <a:off x="5828400" y="4838400"/>
            <a:ext cx="3099600" cy="10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/>
              <a:t>Company confidential © Fazer. All rights reserved</a:t>
            </a:r>
            <a:endParaRPr lang="fi-FI"/>
          </a:p>
        </p:txBody>
      </p:sp>
      <p:pic>
        <p:nvPicPr>
          <p:cNvPr id="2" name="Bildobjekt 1">
            <a:extLst>
              <a:ext uri="{FF2B5EF4-FFF2-40B4-BE49-F238E27FC236}">
                <a16:creationId xmlns:a16="http://schemas.microsoft.com/office/drawing/2014/main" id="{FF255A72-3287-BF56-F7D5-150EF5D340C9}"/>
              </a:ext>
            </a:extLst>
          </p:cNvPr>
          <p:cNvPicPr>
            <a:picLocks noChangeAspect="1"/>
          </p:cNvPicPr>
          <p:nvPr userDrawn="1"/>
        </p:nvPicPr>
        <p:blipFill>
          <a:blip r:embed="rId26"/>
          <a:srcRect/>
          <a:stretch/>
        </p:blipFill>
        <p:spPr>
          <a:xfrm>
            <a:off x="7761248" y="197100"/>
            <a:ext cx="1080703" cy="1080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7922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2" r:id="rId1"/>
    <p:sldLayoutId id="2147483863" r:id="rId2"/>
    <p:sldLayoutId id="2147483864" r:id="rId3"/>
    <p:sldLayoutId id="2147483865" r:id="rId4"/>
    <p:sldLayoutId id="2147483866" r:id="rId5"/>
    <p:sldLayoutId id="2147483867" r:id="rId6"/>
    <p:sldLayoutId id="2147483868" r:id="rId7"/>
    <p:sldLayoutId id="2147483869" r:id="rId8"/>
    <p:sldLayoutId id="2147483870" r:id="rId9"/>
    <p:sldLayoutId id="2147483871" r:id="rId10"/>
    <p:sldLayoutId id="2147483872" r:id="rId11"/>
    <p:sldLayoutId id="2147483873" r:id="rId12"/>
    <p:sldLayoutId id="2147483874" r:id="rId13"/>
    <p:sldLayoutId id="2147483875" r:id="rId14"/>
    <p:sldLayoutId id="2147483876" r:id="rId15"/>
    <p:sldLayoutId id="2147483877" r:id="rId16"/>
    <p:sldLayoutId id="2147483878" r:id="rId17"/>
    <p:sldLayoutId id="2147483879" r:id="rId18"/>
    <p:sldLayoutId id="2147483880" r:id="rId19"/>
    <p:sldLayoutId id="2147483881" r:id="rId20"/>
    <p:sldLayoutId id="2147483882" r:id="rId21"/>
  </p:sldLayoutIdLst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hf hdr="0"/>
  <p:txStyles>
    <p:titleStyle>
      <a:lvl1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宋体" pitchFamily="2" charset="-122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宋体" pitchFamily="2" charset="-122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宋体" pitchFamily="2" charset="-122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宋体" pitchFamily="2" charset="-122"/>
        </a:defRPr>
      </a:lvl5pPr>
      <a:lvl6pPr marL="389582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BB6D06"/>
          </a:solidFill>
          <a:latin typeface="Arial" charset="0"/>
          <a:ea typeface="宋体" pitchFamily="2" charset="-122"/>
        </a:defRPr>
      </a:lvl6pPr>
      <a:lvl7pPr marL="77916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BB6D06"/>
          </a:solidFill>
          <a:latin typeface="Arial" charset="0"/>
          <a:ea typeface="宋体" pitchFamily="2" charset="-122"/>
        </a:defRPr>
      </a:lvl7pPr>
      <a:lvl8pPr marL="1168745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BB6D06"/>
          </a:solidFill>
          <a:latin typeface="Arial" charset="0"/>
          <a:ea typeface="宋体" pitchFamily="2" charset="-122"/>
        </a:defRPr>
      </a:lvl8pPr>
      <a:lvl9pPr marL="1558326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BB6D06"/>
          </a:solidFill>
          <a:latin typeface="Arial" charset="0"/>
          <a:ea typeface="宋体" pitchFamily="2" charset="-122"/>
        </a:defRPr>
      </a:lvl9pPr>
    </p:titleStyle>
    <p:bodyStyle>
      <a:lvl1pPr marL="227256" indent="-227256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9923" indent="-232667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ea typeface="+mn-ea"/>
        </a:defRPr>
      </a:lvl2pPr>
      <a:lvl3pPr marL="687179" indent="-227256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itchFamily="34" charset="0"/>
        <a:buChar char="•"/>
        <a:defRPr sz="1400">
          <a:solidFill>
            <a:schemeClr val="tx1"/>
          </a:solidFill>
          <a:latin typeface="+mn-lt"/>
          <a:ea typeface="+mn-ea"/>
        </a:defRPr>
      </a:lvl3pPr>
      <a:lvl4pPr marL="913082" indent="-225903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Char char="•"/>
        <a:defRPr sz="1200">
          <a:solidFill>
            <a:schemeClr val="tx1"/>
          </a:solidFill>
          <a:latin typeface="+mn-lt"/>
          <a:ea typeface="+mn-ea"/>
        </a:defRPr>
      </a:lvl4pPr>
      <a:lvl5pPr marL="1147101" indent="-23402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itchFamily="34" charset="0"/>
        <a:buChar char="•"/>
        <a:defRPr sz="1000">
          <a:solidFill>
            <a:schemeClr val="tx1"/>
          </a:solidFill>
          <a:latin typeface="+mn-lt"/>
          <a:ea typeface="+mn-ea"/>
        </a:defRPr>
      </a:lvl5pPr>
      <a:lvl6pPr marL="2142698" indent="-194791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»"/>
        <a:defRPr>
          <a:solidFill>
            <a:schemeClr val="tx2"/>
          </a:solidFill>
          <a:latin typeface="+mn-lt"/>
          <a:ea typeface="+mn-ea"/>
        </a:defRPr>
      </a:lvl6pPr>
      <a:lvl7pPr marL="2532280" indent="-194791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»"/>
        <a:defRPr>
          <a:solidFill>
            <a:schemeClr val="tx2"/>
          </a:solidFill>
          <a:latin typeface="+mn-lt"/>
          <a:ea typeface="+mn-ea"/>
        </a:defRPr>
      </a:lvl7pPr>
      <a:lvl8pPr marL="2921861" indent="-194791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»"/>
        <a:defRPr>
          <a:solidFill>
            <a:schemeClr val="tx2"/>
          </a:solidFill>
          <a:latin typeface="+mn-lt"/>
          <a:ea typeface="+mn-ea"/>
        </a:defRPr>
      </a:lvl8pPr>
      <a:lvl9pPr marL="3311443" indent="-194791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»"/>
        <a:defRPr>
          <a:solidFill>
            <a:schemeClr val="tx2"/>
          </a:solidFill>
          <a:latin typeface="+mn-lt"/>
          <a:ea typeface="+mn-ea"/>
        </a:defRPr>
      </a:lvl9pPr>
    </p:bodyStyle>
    <p:otherStyle>
      <a:defPPr>
        <a:defRPr lang="fi-FI"/>
      </a:defPPr>
      <a:lvl1pPr marL="0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8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163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745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326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908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489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071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65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3.png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kartonkikilpailu.fi/kilpailun-tehtavat/1-tehtava/" TargetMode="External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.png"/><Relationship Id="rId5" Type="http://schemas.openxmlformats.org/officeDocument/2006/relationships/image" Target="../media/image10.pn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2.png"/><Relationship Id="rId2" Type="http://schemas.openxmlformats.org/officeDocument/2006/relationships/hyperlink" Target="https://kartonkikilpailu.fi/kilpailun-tehtavat/1-tehtava/" TargetMode="Externa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6.png"/><Relationship Id="rId5" Type="http://schemas.openxmlformats.org/officeDocument/2006/relationships/image" Target="../media/image15.jpe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kartonkikilpailu.fi/kilpailun-tehtavat/1-tehtava/" TargetMode="External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.png"/><Relationship Id="rId5" Type="http://schemas.openxmlformats.org/officeDocument/2006/relationships/image" Target="../media/image10.pn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2.png"/><Relationship Id="rId4" Type="http://schemas.openxmlformats.org/officeDocument/2006/relationships/image" Target="../media/image2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Kuva 17" descr="Kuva, joka sisältää kohteen vaate, piha-, henkilö, jalkineet&#10;&#10;Kuvaus luotu automaattisesti">
            <a:extLst>
              <a:ext uri="{FF2B5EF4-FFF2-40B4-BE49-F238E27FC236}">
                <a16:creationId xmlns:a16="http://schemas.microsoft.com/office/drawing/2014/main" id="{9B66B32C-9B32-2188-8C42-F7C2333B93B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116"/>
            <a:ext cx="3429000" cy="5143500"/>
          </a:xfrm>
          <a:prstGeom prst="rect">
            <a:avLst/>
          </a:prstGeom>
        </p:spPr>
      </p:pic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FC75CFCD-7BCA-4086-5F48-CED0097424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8541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75CFCD-7BCA-4086-5F48-CED0097424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E69D7D5-ADEA-4183-A5FB-6DF6D61B8DA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359091" y="3464310"/>
            <a:ext cx="1784909" cy="344050"/>
          </a:xfrm>
        </p:spPr>
        <p:txBody>
          <a:bodyPr/>
          <a:lstStyle/>
          <a:p>
            <a:pPr marL="0" indent="0">
              <a:buNone/>
            </a:pPr>
            <a:r>
              <a:rPr lang="en-GB" err="1"/>
              <a:t>Yhteistyössä</a:t>
            </a:r>
            <a:endParaRPr lang="fi-F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AB212D-8B5F-4DB9-B152-7CD49A0C47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9952" y="1851670"/>
            <a:ext cx="4011850" cy="827999"/>
          </a:xfrm>
        </p:spPr>
        <p:txBody>
          <a:bodyPr vert="horz"/>
          <a:lstStyle/>
          <a:p>
            <a:r>
              <a:rPr lang="en-GB" err="1"/>
              <a:t>Tehtävä</a:t>
            </a:r>
            <a:r>
              <a:rPr lang="en-GB"/>
              <a:t> 1: </a:t>
            </a:r>
            <a:r>
              <a:rPr lang="en-GB" err="1"/>
              <a:t>Lajittele</a:t>
            </a:r>
            <a:r>
              <a:rPr lang="en-GB"/>
              <a:t> </a:t>
            </a:r>
            <a:r>
              <a:rPr lang="en-GB" err="1"/>
              <a:t>ja</a:t>
            </a:r>
            <a:r>
              <a:rPr lang="en-GB"/>
              <a:t> </a:t>
            </a:r>
            <a:r>
              <a:rPr lang="en-GB" err="1"/>
              <a:t>kierrätä</a:t>
            </a:r>
            <a:endParaRPr lang="fi-FI"/>
          </a:p>
        </p:txBody>
      </p:sp>
      <p:pic>
        <p:nvPicPr>
          <p:cNvPr id="8" name="Kuva 7">
            <a:extLst>
              <a:ext uri="{FF2B5EF4-FFF2-40B4-BE49-F238E27FC236}">
                <a16:creationId xmlns:a16="http://schemas.microsoft.com/office/drawing/2014/main" id="{B1E648F3-7607-F682-4A22-EAF76160C5F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14957" y="3808360"/>
            <a:ext cx="1329043" cy="1335140"/>
          </a:xfrm>
          <a:prstGeom prst="rect">
            <a:avLst/>
          </a:prstGeom>
        </p:spPr>
      </p:pic>
      <p:pic>
        <p:nvPicPr>
          <p:cNvPr id="6" name="Bildobjekt 5">
            <a:extLst>
              <a:ext uri="{FF2B5EF4-FFF2-40B4-BE49-F238E27FC236}">
                <a16:creationId xmlns:a16="http://schemas.microsoft.com/office/drawing/2014/main" id="{A9C3E538-BC8C-BF47-969D-1ED84361E1C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65853" y="4659982"/>
            <a:ext cx="1152128" cy="317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908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uva 6" descr="Kuva, joka sisältää kohteen piha-, vaate, Jätesäiliö, henkilö&#10;&#10;Kuvaus luotu automaattisesti">
            <a:extLst>
              <a:ext uri="{FF2B5EF4-FFF2-40B4-BE49-F238E27FC236}">
                <a16:creationId xmlns:a16="http://schemas.microsoft.com/office/drawing/2014/main" id="{A20EF0CA-0CB3-88DF-80C6-17616FFCC1B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5239"/>
            <a:ext cx="3429670" cy="5143500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482F5C4A-E783-4365-8E29-D68FD28D34B1}"/>
              </a:ext>
            </a:extLst>
          </p:cNvPr>
          <p:cNvSpPr/>
          <p:nvPr/>
        </p:nvSpPr>
        <p:spPr bwMode="auto">
          <a:xfrm>
            <a:off x="4000438" y="771550"/>
            <a:ext cx="4101942" cy="33369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algn="l">
              <a:buNone/>
            </a:pPr>
            <a:r>
              <a:rPr lang="fi-FI" dirty="0"/>
              <a:t>Ensimmäinen tehtävä koostuu kahdesta osasta.</a:t>
            </a:r>
          </a:p>
          <a:p>
            <a:pPr algn="l">
              <a:buNone/>
            </a:pPr>
            <a:endParaRPr lang="fi-FI" dirty="0"/>
          </a:p>
          <a:p>
            <a:pPr algn="l">
              <a:buNone/>
            </a:pPr>
            <a:r>
              <a:rPr lang="fi-FI" b="1" dirty="0"/>
              <a:t>Ensimmäisessä osassa </a:t>
            </a:r>
            <a:r>
              <a:rPr lang="fi-FI" dirty="0"/>
              <a:t>oppilaat osallistuvat kodin käytettyjen kartonkipakkausten* kierrättämiseen. </a:t>
            </a:r>
          </a:p>
          <a:p>
            <a:pPr algn="l">
              <a:buNone/>
            </a:pPr>
            <a:endParaRPr lang="fi-FI" dirty="0"/>
          </a:p>
          <a:p>
            <a:pPr algn="l">
              <a:buNone/>
            </a:pPr>
            <a:r>
              <a:rPr lang="fi-FI" b="1" dirty="0"/>
              <a:t>Toisessa osassa </a:t>
            </a:r>
            <a:r>
              <a:rPr lang="fi-FI" dirty="0"/>
              <a:t>luokan tulee suunnitella uusi lajitteluohje kartonkipakkauksille.</a:t>
            </a:r>
          </a:p>
          <a:p>
            <a:pPr algn="l">
              <a:buNone/>
            </a:pPr>
            <a:endParaRPr lang="fi-FI" dirty="0"/>
          </a:p>
          <a:p>
            <a:pPr algn="l">
              <a:buNone/>
            </a:pPr>
            <a:r>
              <a:rPr lang="fi-FI" sz="1100" dirty="0"/>
              <a:t>* Kartonkipakkaus on pakkaus mm. maidolle, tuoremehulle, jugurtille, kermalle, tomaattimurskalle ja kaurajuomalle.</a:t>
            </a:r>
            <a:endParaRPr lang="sv-SE" sz="1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81EF7CBC-4557-F746-9A79-C1DCACC439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5536" y="4659982"/>
            <a:ext cx="1152128" cy="317987"/>
          </a:xfrm>
          <a:prstGeom prst="rect">
            <a:avLst/>
          </a:prstGeom>
        </p:spPr>
      </p:pic>
      <p:pic>
        <p:nvPicPr>
          <p:cNvPr id="3" name="Kuva 2" descr="Kuva, joka sisältää kohteen logo, Fontti, Grafiikka, symboli&#10;&#10;Kuvaus luotu automaattisesti">
            <a:extLst>
              <a:ext uri="{FF2B5EF4-FFF2-40B4-BE49-F238E27FC236}">
                <a16:creationId xmlns:a16="http://schemas.microsoft.com/office/drawing/2014/main" id="{C939DC77-3D2C-A050-890B-4DC8D3CD05A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12361" y="3811861"/>
            <a:ext cx="1331640" cy="1331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2632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Kuva 18" descr="Kuva, joka sisältää kohteen vaate, henkilö, kontti, Jätesäiliö&#10;&#10;Kuvaus luotu automaattisesti">
            <a:extLst>
              <a:ext uri="{FF2B5EF4-FFF2-40B4-BE49-F238E27FC236}">
                <a16:creationId xmlns:a16="http://schemas.microsoft.com/office/drawing/2014/main" id="{47B0C5DD-FCC5-F161-CCE7-45DDD1AD6D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15000" y="0"/>
            <a:ext cx="3429000" cy="5143500"/>
          </a:xfrm>
          <a:prstGeom prst="rect">
            <a:avLst/>
          </a:prstGeom>
        </p:spPr>
      </p:pic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83568" y="1112164"/>
            <a:ext cx="4266475" cy="2919172"/>
          </a:xfrm>
        </p:spPr>
        <p:txBody>
          <a:bodyPr/>
          <a:lstStyle/>
          <a:p>
            <a:pPr marL="0" indent="0">
              <a:buNone/>
            </a:pPr>
            <a:r>
              <a:rPr lang="fi-FI" b="1">
                <a:latin typeface="Arial" panose="020B0604020202020204" pitchFamily="34" charset="0"/>
                <a:cs typeface="Arial" panose="020B0604020202020204" pitchFamily="34" charset="0"/>
              </a:rPr>
              <a:t>Osa 1 – Lajittele ja kierrätä!</a:t>
            </a:r>
          </a:p>
          <a:p>
            <a:pPr marL="0" indent="0">
              <a:buNone/>
            </a:pPr>
            <a:r>
              <a:rPr lang="fi-FI">
                <a:latin typeface="Arial" panose="020B0604020202020204" pitchFamily="34" charset="0"/>
                <a:cs typeface="Arial" panose="020B0604020202020204" pitchFamily="34" charset="0"/>
              </a:rPr>
              <a:t>Tehtävän ensimmäisessä osassa oppilaat huolehtivat kahden viikon ajan kartonkipakkausten kierrättämisestä kotona. Oppilaat merkkaavat kierrätetyt kartongit seurantataulukkoihin.</a:t>
            </a:r>
          </a:p>
          <a:p>
            <a:pPr marL="0" indent="0">
              <a:buNone/>
            </a:pPr>
            <a:r>
              <a:rPr lang="fi-FI">
                <a:latin typeface="Arial" panose="020B0604020202020204" pitchFamily="34" charset="0"/>
                <a:cs typeface="Arial" panose="020B0604020202020204" pitchFamily="34" charset="0"/>
              </a:rPr>
              <a:t>Opettaja päättää kahden viikon pituisen toteutusjakson ajalle 15.8.2023–17.3.2024.</a:t>
            </a:r>
          </a:p>
          <a:p>
            <a:pPr marL="0" indent="0">
              <a:buNone/>
            </a:pPr>
            <a:r>
              <a:rPr lang="fi-FI">
                <a:latin typeface="Arial" panose="020B0604020202020204" pitchFamily="34" charset="0"/>
                <a:cs typeface="Arial" panose="020B0604020202020204" pitchFamily="34" charset="0"/>
              </a:rPr>
              <a:t>Tarkemmat ohjeet </a:t>
            </a:r>
            <a:r>
              <a:rPr lang="fi-FI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täältä</a:t>
            </a:r>
            <a:r>
              <a:rPr lang="fi-FI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70E2EDDB-24A0-EE49-96F4-3C5210B4B28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5536" y="4657894"/>
            <a:ext cx="1152128" cy="320075"/>
          </a:xfrm>
          <a:prstGeom prst="rect">
            <a:avLst/>
          </a:prstGeom>
        </p:spPr>
      </p:pic>
      <p:pic>
        <p:nvPicPr>
          <p:cNvPr id="7" name="Kuva 6">
            <a:extLst>
              <a:ext uri="{FF2B5EF4-FFF2-40B4-BE49-F238E27FC236}">
                <a16:creationId xmlns:a16="http://schemas.microsoft.com/office/drawing/2014/main" id="{A5E130FC-34B2-F704-9BB0-7261E72BEAD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85957" y="3808360"/>
            <a:ext cx="1329043" cy="1335140"/>
          </a:xfrm>
          <a:prstGeom prst="rect">
            <a:avLst/>
          </a:prstGeom>
        </p:spPr>
      </p:pic>
      <p:pic>
        <p:nvPicPr>
          <p:cNvPr id="2" name="Bildobjekt 1">
            <a:extLst>
              <a:ext uri="{FF2B5EF4-FFF2-40B4-BE49-F238E27FC236}">
                <a16:creationId xmlns:a16="http://schemas.microsoft.com/office/drawing/2014/main" id="{F05F0696-C1DC-A792-D3D9-9E489F222E5D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7761248" y="197100"/>
            <a:ext cx="1080703" cy="1080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12952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78050" y="869785"/>
            <a:ext cx="4266475" cy="3403929"/>
          </a:xfrm>
        </p:spPr>
        <p:txBody>
          <a:bodyPr/>
          <a:lstStyle/>
          <a:p>
            <a:pPr marL="0" indent="0">
              <a:buNone/>
            </a:pPr>
            <a:r>
              <a:rPr lang="fi-FI" b="1">
                <a:latin typeface="Arial" panose="020B0604020202020204" pitchFamily="34" charset="0"/>
                <a:cs typeface="Arial" panose="020B0604020202020204" pitchFamily="34" charset="0"/>
              </a:rPr>
              <a:t>Osa 2 – Laadi uusi lajitteluohje kartonkipakkauksille</a:t>
            </a:r>
          </a:p>
          <a:p>
            <a:pPr marL="0" indent="0">
              <a:buNone/>
            </a:pPr>
            <a:r>
              <a:rPr lang="fi-FI" sz="1600">
                <a:latin typeface="Arial" panose="020B0604020202020204" pitchFamily="34" charset="0"/>
                <a:cs typeface="Arial" panose="020B0604020202020204" pitchFamily="34" charset="0"/>
              </a:rPr>
              <a:t>Luokallanne on nyt mahdollisuus vaikuttaa kartonkipakkausten lajitteluohjeen ulkonäköön!</a:t>
            </a:r>
          </a:p>
          <a:p>
            <a:pPr marL="0" indent="0">
              <a:buNone/>
            </a:pPr>
            <a:r>
              <a:rPr lang="fi-FI" sz="1600">
                <a:latin typeface="Arial" panose="020B0604020202020204" pitchFamily="34" charset="0"/>
                <a:cs typeface="Arial" panose="020B0604020202020204" pitchFamily="34" charset="0"/>
              </a:rPr>
              <a:t>Miltä ohjeiden tulisi teidän mielestä näyttää, jotta oikeaoppinen lajittelu olisi helppoa? Mitä tietoja tarvitaan? Tuleeko ohjeen sisältää pelkästään tekstiä? </a:t>
            </a:r>
            <a:r>
              <a:rPr lang="fi-FI" sz="1600" err="1">
                <a:latin typeface="Arial" panose="020B0604020202020204" pitchFamily="34" charset="0"/>
                <a:cs typeface="Arial" panose="020B0604020202020204" pitchFamily="34" charset="0"/>
              </a:rPr>
              <a:t>Entäs</a:t>
            </a:r>
            <a:r>
              <a:rPr lang="fi-FI" sz="1600">
                <a:latin typeface="Arial" panose="020B0604020202020204" pitchFamily="34" charset="0"/>
                <a:cs typeface="Arial" panose="020B0604020202020204" pitchFamily="34" charset="0"/>
              </a:rPr>
              <a:t> kuvia?</a:t>
            </a:r>
          </a:p>
          <a:p>
            <a:pPr marL="0" indent="0">
              <a:buNone/>
            </a:pPr>
            <a:r>
              <a:rPr lang="fi-FI" sz="1600">
                <a:latin typeface="Arial" panose="020B0604020202020204" pitchFamily="34" charset="0"/>
                <a:cs typeface="Arial" panose="020B0604020202020204" pitchFamily="34" charset="0"/>
              </a:rPr>
              <a:t>Voittajaehdotus pääsee koristamaan Rinki-ekopisteen keräysastioita.</a:t>
            </a:r>
          </a:p>
          <a:p>
            <a:pPr marL="0" indent="0">
              <a:buNone/>
            </a:pPr>
            <a:r>
              <a:rPr lang="fi-FI" sz="1600">
                <a:latin typeface="Arial" panose="020B0604020202020204" pitchFamily="34" charset="0"/>
                <a:cs typeface="Arial" panose="020B0604020202020204" pitchFamily="34" charset="0"/>
              </a:rPr>
              <a:t>Tarkemmat ohjeet </a:t>
            </a:r>
            <a:r>
              <a:rPr lang="fi-FI" sz="160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täältä</a:t>
            </a:r>
            <a:r>
              <a:rPr lang="fi-FI" sz="160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70E2EDDB-24A0-EE49-96F4-3C5210B4B2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536" y="4657894"/>
            <a:ext cx="1152128" cy="320075"/>
          </a:xfrm>
          <a:prstGeom prst="rect">
            <a:avLst/>
          </a:prstGeom>
        </p:spPr>
      </p:pic>
      <p:pic>
        <p:nvPicPr>
          <p:cNvPr id="7" name="Kuva 6">
            <a:extLst>
              <a:ext uri="{FF2B5EF4-FFF2-40B4-BE49-F238E27FC236}">
                <a16:creationId xmlns:a16="http://schemas.microsoft.com/office/drawing/2014/main" id="{A5E130FC-34B2-F704-9BB0-7261E72BEA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14957" y="3808360"/>
            <a:ext cx="1329043" cy="1335140"/>
          </a:xfrm>
          <a:prstGeom prst="rect">
            <a:avLst/>
          </a:prstGeom>
        </p:spPr>
      </p:pic>
      <p:pic>
        <p:nvPicPr>
          <p:cNvPr id="12" name="Kuva 11" descr="Kuva, joka sisältää kohteen teksti, vaate, käsiala, henkilö&#10;&#10;Kuvaus luotu automaattisesti">
            <a:extLst>
              <a:ext uri="{FF2B5EF4-FFF2-40B4-BE49-F238E27FC236}">
                <a16:creationId xmlns:a16="http://schemas.microsoft.com/office/drawing/2014/main" id="{CDAB282C-38B8-FDE3-04DB-41A78407908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1216" y="26342"/>
            <a:ext cx="2555777" cy="3833666"/>
          </a:xfrm>
          <a:prstGeom prst="rect">
            <a:avLst/>
          </a:prstGeom>
        </p:spPr>
      </p:pic>
      <p:pic>
        <p:nvPicPr>
          <p:cNvPr id="6" name="Kuva 5" descr="Kuva, joka sisältää kohteen teksti, kuvakaappaus, Fontti, muotoilu&#10;&#10;Kuvaus luotu automaattisesti">
            <a:extLst>
              <a:ext uri="{FF2B5EF4-FFF2-40B4-BE49-F238E27FC236}">
                <a16:creationId xmlns:a16="http://schemas.microsoft.com/office/drawing/2014/main" id="{1A49E533-F155-D21E-E4FC-0096963FE56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21185267">
            <a:off x="5109441" y="1709951"/>
            <a:ext cx="2220588" cy="3148489"/>
          </a:xfrm>
          <a:prstGeom prst="rect">
            <a:avLst/>
          </a:prstGeom>
        </p:spPr>
      </p:pic>
      <p:pic>
        <p:nvPicPr>
          <p:cNvPr id="2" name="Bildobjekt 1">
            <a:extLst>
              <a:ext uri="{FF2B5EF4-FFF2-40B4-BE49-F238E27FC236}">
                <a16:creationId xmlns:a16="http://schemas.microsoft.com/office/drawing/2014/main" id="{A459CD53-DA25-EC9C-C3B1-7FDA69DD661C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7761248" y="197100"/>
            <a:ext cx="1080703" cy="1080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0789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8BFE9A7-A37F-0B4D-94F2-F6B10B6D3F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err="1"/>
              <a:t>Esimerkkejä</a:t>
            </a:r>
            <a:r>
              <a:rPr lang="sv-SE"/>
              <a:t> </a:t>
            </a:r>
            <a:r>
              <a:rPr lang="sv-SE" err="1"/>
              <a:t>aikaisemmilta</a:t>
            </a:r>
            <a:r>
              <a:rPr lang="sv-SE"/>
              <a:t> </a:t>
            </a:r>
            <a:r>
              <a:rPr lang="sv-SE" err="1"/>
              <a:t>kilpailukausilta</a:t>
            </a:r>
            <a:r>
              <a:rPr lang="sv-SE"/>
              <a:t>: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752C2F66-6F31-A64B-B6F1-6D68CAEBA3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536" y="4611217"/>
            <a:ext cx="1152128" cy="317987"/>
          </a:xfrm>
          <a:prstGeom prst="rect">
            <a:avLst/>
          </a:prstGeom>
        </p:spPr>
      </p:pic>
      <p:pic>
        <p:nvPicPr>
          <p:cNvPr id="4" name="Kuva 3">
            <a:extLst>
              <a:ext uri="{FF2B5EF4-FFF2-40B4-BE49-F238E27FC236}">
                <a16:creationId xmlns:a16="http://schemas.microsoft.com/office/drawing/2014/main" id="{AB25C866-53DE-CFCB-B230-363E24EC9F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14957" y="3808360"/>
            <a:ext cx="1329043" cy="1335140"/>
          </a:xfrm>
          <a:prstGeom prst="rect">
            <a:avLst/>
          </a:prstGeom>
        </p:spPr>
      </p:pic>
      <p:pic>
        <p:nvPicPr>
          <p:cNvPr id="7" name="Kuva 6" descr="Kuva, joka sisältää kohteen Jätesäiliö, teksti, Kodinkone, jäteastia&#10;&#10;Kuvaus luotu automaattisesti">
            <a:extLst>
              <a:ext uri="{FF2B5EF4-FFF2-40B4-BE49-F238E27FC236}">
                <a16:creationId xmlns:a16="http://schemas.microsoft.com/office/drawing/2014/main" id="{5B414B24-D847-29AD-266A-020D455FF77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64389" y="790632"/>
            <a:ext cx="2159737" cy="3239606"/>
          </a:xfrm>
          <a:prstGeom prst="rect">
            <a:avLst/>
          </a:prstGeom>
        </p:spPr>
      </p:pic>
      <p:pic>
        <p:nvPicPr>
          <p:cNvPr id="8" name="Kuva 7" descr="Kuva, joka sisältää kohteen teksti, puu, piha-, kuvakaappaus&#10;&#10;Kuvaus luotu automaattisesti">
            <a:extLst>
              <a:ext uri="{FF2B5EF4-FFF2-40B4-BE49-F238E27FC236}">
                <a16:creationId xmlns:a16="http://schemas.microsoft.com/office/drawing/2014/main" id="{D40E73C0-8D7E-F172-DDB4-9FC72A48838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5536" y="790632"/>
            <a:ext cx="3903188" cy="2927391"/>
          </a:xfrm>
          <a:prstGeom prst="rect">
            <a:avLst/>
          </a:prstGeom>
        </p:spPr>
      </p:pic>
      <p:pic>
        <p:nvPicPr>
          <p:cNvPr id="11" name="Kuva 10" descr="Kuva, joka sisältää kohteen piha-, taivas, teksti, pilvi&#10;&#10;Kuvaus luotu automaattisesti">
            <a:extLst>
              <a:ext uri="{FF2B5EF4-FFF2-40B4-BE49-F238E27FC236}">
                <a16:creationId xmlns:a16="http://schemas.microsoft.com/office/drawing/2014/main" id="{30FA09A1-C0FB-86BC-82BC-FEFC3337BFC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40550" y="1635646"/>
            <a:ext cx="3037358" cy="3075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47697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Kuva 8">
            <a:extLst>
              <a:ext uri="{FF2B5EF4-FFF2-40B4-BE49-F238E27FC236}">
                <a16:creationId xmlns:a16="http://schemas.microsoft.com/office/drawing/2014/main" id="{1E1FEB01-8986-9DBD-D4CE-135DC60AED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6375" y="0"/>
            <a:ext cx="3857625" cy="5143500"/>
          </a:xfrm>
          <a:prstGeom prst="rect">
            <a:avLst/>
          </a:prstGeom>
        </p:spPr>
      </p:pic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39552" y="446115"/>
            <a:ext cx="3888432" cy="4032448"/>
          </a:xfrm>
        </p:spPr>
        <p:txBody>
          <a:bodyPr/>
          <a:lstStyle/>
          <a:p>
            <a:pPr marL="731" indent="0">
              <a:buNone/>
            </a:pPr>
            <a:r>
              <a:rPr lang="sv-SE" b="1" err="1">
                <a:latin typeface="Arial" panose="020B0604020202020204" pitchFamily="34" charset="0"/>
                <a:cs typeface="Arial" panose="020B0604020202020204" pitchFamily="34" charset="0"/>
              </a:rPr>
              <a:t>Toimikaa</a:t>
            </a:r>
            <a:r>
              <a:rPr lang="sv-SE" b="1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b="1" err="1">
                <a:latin typeface="Arial" panose="020B0604020202020204" pitchFamily="34" charset="0"/>
                <a:cs typeface="Arial" panose="020B0604020202020204" pitchFamily="34" charset="0"/>
              </a:rPr>
              <a:t>näin</a:t>
            </a:r>
            <a:endParaRPr lang="sv-SE" b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31" indent="0">
              <a:buNone/>
            </a:pPr>
            <a:r>
              <a:rPr lang="fi-FI" sz="1600">
                <a:latin typeface="Arial" panose="020B0604020202020204" pitchFamily="34" charset="0"/>
                <a:cs typeface="Arial" panose="020B0604020202020204" pitchFamily="34" charset="0"/>
              </a:rPr>
              <a:t>Kukin luokka voi osallistua enintään kolmella kilpailuehdotuksella. Laittakaa kilpailuehdotuksenne vierekkäin ja ottakaa niistä YKSI kuva. Ladatkaa kuva Kartonkikilpailun verkkosivuille samalla, kun rekisteröitte luokan kierrätysasteen. </a:t>
            </a:r>
          </a:p>
          <a:p>
            <a:pPr marL="731" indent="0">
              <a:buNone/>
            </a:pPr>
            <a:r>
              <a:rPr lang="fi-FI" sz="1600">
                <a:latin typeface="Arial" panose="020B0604020202020204" pitchFamily="34" charset="0"/>
                <a:cs typeface="Arial" panose="020B0604020202020204" pitchFamily="34" charset="0"/>
              </a:rPr>
              <a:t>Rekisteröikää 1. kilpailutehtävä viimeistään </a:t>
            </a:r>
            <a:r>
              <a:rPr lang="fi-FI" sz="1600" b="1">
                <a:latin typeface="Arial" panose="020B0604020202020204" pitchFamily="34" charset="0"/>
                <a:cs typeface="Arial" panose="020B0604020202020204" pitchFamily="34" charset="0"/>
              </a:rPr>
              <a:t>17. maaliskuuta 2024.</a:t>
            </a:r>
            <a:r>
              <a:rPr lang="fi-FI" sz="1600">
                <a:latin typeface="Arial" panose="020B0604020202020204" pitchFamily="34" charset="0"/>
                <a:cs typeface="Arial" panose="020B0604020202020204" pitchFamily="34" charset="0"/>
              </a:rPr>
              <a:t> Muistakaa säilyttää alkuperäiset kilpailuehdotukset, mikäli satutte olemaan yksi voittajista.</a:t>
            </a:r>
          </a:p>
          <a:p>
            <a:pPr marL="731" indent="0">
              <a:buNone/>
            </a:pPr>
            <a:r>
              <a:rPr lang="fi-FI" sz="1600">
                <a:latin typeface="Arial" panose="020B0604020202020204" pitchFamily="34" charset="0"/>
                <a:cs typeface="Arial" panose="020B0604020202020204" pitchFamily="34" charset="0"/>
              </a:rPr>
              <a:t>Tarkemmat ohjeet tehtävään löydätte täältä: </a:t>
            </a:r>
            <a:r>
              <a:rPr lang="fi-FI" sz="1600">
                <a:hlinkClick r:id="rId3"/>
              </a:rPr>
              <a:t>1. Tehtävä - Karton­kikilpailu (kartonkikilpailu.fi)</a:t>
            </a:r>
            <a:endParaRPr lang="fi-FI" sz="16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31" indent="0">
              <a:buNone/>
            </a:pPr>
            <a:endParaRPr lang="sv-SE" sz="135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31" indent="0">
              <a:buNone/>
            </a:pPr>
            <a:endParaRPr lang="sv-SE" sz="135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4EDB238C-988A-DD44-8CFE-4852451B94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9552" y="4605341"/>
            <a:ext cx="1152128" cy="317987"/>
          </a:xfrm>
          <a:prstGeom prst="rect">
            <a:avLst/>
          </a:prstGeom>
        </p:spPr>
      </p:pic>
      <p:pic>
        <p:nvPicPr>
          <p:cNvPr id="4" name="Kuva 3">
            <a:extLst>
              <a:ext uri="{FF2B5EF4-FFF2-40B4-BE49-F238E27FC236}">
                <a16:creationId xmlns:a16="http://schemas.microsoft.com/office/drawing/2014/main" id="{23E0871E-3369-A3FD-694A-5EBB297E18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57332" y="3808360"/>
            <a:ext cx="1329043" cy="1335140"/>
          </a:xfrm>
          <a:prstGeom prst="rect">
            <a:avLst/>
          </a:prstGeom>
        </p:spPr>
      </p:pic>
      <p:pic>
        <p:nvPicPr>
          <p:cNvPr id="2" name="Bildobjekt 1">
            <a:extLst>
              <a:ext uri="{FF2B5EF4-FFF2-40B4-BE49-F238E27FC236}">
                <a16:creationId xmlns:a16="http://schemas.microsoft.com/office/drawing/2014/main" id="{16C30D9B-441F-5659-A2EA-1EB4F971311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7761248" y="197100"/>
            <a:ext cx="1080703" cy="1080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1399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Kuva 17" descr="Kuva, joka sisältää kohteen vaate, henkilö, piha-, taapero&#10;&#10;Kuvaus luotu automaattisesti">
            <a:extLst>
              <a:ext uri="{FF2B5EF4-FFF2-40B4-BE49-F238E27FC236}">
                <a16:creationId xmlns:a16="http://schemas.microsoft.com/office/drawing/2014/main" id="{7785997E-6E1D-2A15-86E7-F6F3FA57952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3429000" cy="5143500"/>
          </a:xfrm>
          <a:prstGeom prst="rect">
            <a:avLst/>
          </a:prstGeom>
        </p:spPr>
      </p:pic>
      <p:sp>
        <p:nvSpPr>
          <p:cNvPr id="13" name="Rektangel 12"/>
          <p:cNvSpPr/>
          <p:nvPr/>
        </p:nvSpPr>
        <p:spPr bwMode="auto">
          <a:xfrm>
            <a:off x="5004048" y="615677"/>
            <a:ext cx="3312368" cy="310820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228600" indent="-228600">
              <a:buFont typeface="+mj-lt"/>
              <a:buAutoNum type="arabicPeriod"/>
            </a:pPr>
            <a:endParaRPr lang="sv-SE" sz="1200">
              <a:solidFill>
                <a:schemeClr val="tx1"/>
              </a:solidFill>
              <a:latin typeface="Times" charset="0"/>
            </a:endParaRP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70E2EDDB-24A0-EE49-96F4-3C5210B4B2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79912" y="4515966"/>
            <a:ext cx="1152128" cy="320075"/>
          </a:xfrm>
          <a:prstGeom prst="rect">
            <a:avLst/>
          </a:prstGeom>
        </p:spPr>
      </p:pic>
      <p:pic>
        <p:nvPicPr>
          <p:cNvPr id="7" name="Kuva 6">
            <a:extLst>
              <a:ext uri="{FF2B5EF4-FFF2-40B4-BE49-F238E27FC236}">
                <a16:creationId xmlns:a16="http://schemas.microsoft.com/office/drawing/2014/main" id="{A5E130FC-34B2-F704-9BB0-7261E72BEA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14957" y="3808360"/>
            <a:ext cx="1329043" cy="1335140"/>
          </a:xfrm>
          <a:prstGeom prst="rect">
            <a:avLst/>
          </a:prstGeom>
        </p:spPr>
      </p:pic>
      <p:sp>
        <p:nvSpPr>
          <p:cNvPr id="4" name="Tekstiruutu 3">
            <a:extLst>
              <a:ext uri="{FF2B5EF4-FFF2-40B4-BE49-F238E27FC236}">
                <a16:creationId xmlns:a16="http://schemas.microsoft.com/office/drawing/2014/main" id="{E68028D1-EE56-B723-B33F-C5BF7C340488}"/>
              </a:ext>
            </a:extLst>
          </p:cNvPr>
          <p:cNvSpPr txBox="1"/>
          <p:nvPr/>
        </p:nvSpPr>
        <p:spPr>
          <a:xfrm>
            <a:off x="4191618" y="1419622"/>
            <a:ext cx="3923928" cy="19482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31" indent="0" algn="l">
              <a:buNone/>
            </a:pPr>
            <a:r>
              <a:rPr lang="sv-SE" sz="1800" b="1" err="1">
                <a:latin typeface="Arial" panose="020B0604020202020204" pitchFamily="34" charset="0"/>
                <a:cs typeface="Arial" panose="020B0604020202020204" pitchFamily="34" charset="0"/>
              </a:rPr>
              <a:t>Nopeuspalkinto</a:t>
            </a:r>
            <a:endParaRPr lang="sv-SE" b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31" indent="0" algn="l">
              <a:buNone/>
            </a:pPr>
            <a:endParaRPr lang="sv-SE" sz="1800" b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31" indent="0" algn="l">
              <a:buNone/>
            </a:pPr>
            <a:r>
              <a:rPr lang="sv-SE" sz="1800" err="1">
                <a:latin typeface="Arial" panose="020B0604020202020204" pitchFamily="34" charset="0"/>
                <a:cs typeface="Arial" panose="020B0604020202020204" pitchFamily="34" charset="0"/>
              </a:rPr>
              <a:t>Mikäli</a:t>
            </a:r>
            <a:r>
              <a:rPr lang="sv-SE" sz="18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800" err="1">
                <a:latin typeface="Arial" panose="020B0604020202020204" pitchFamily="34" charset="0"/>
                <a:cs typeface="Arial" panose="020B0604020202020204" pitchFamily="34" charset="0"/>
              </a:rPr>
              <a:t>olette</a:t>
            </a:r>
            <a:r>
              <a:rPr lang="sv-SE" sz="18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800" err="1">
                <a:latin typeface="Arial" panose="020B0604020202020204" pitchFamily="34" charset="0"/>
                <a:cs typeface="Arial" panose="020B0604020202020204" pitchFamily="34" charset="0"/>
              </a:rPr>
              <a:t>nopeita</a:t>
            </a:r>
            <a:r>
              <a:rPr lang="sv-SE" sz="1800">
                <a:latin typeface="Arial" panose="020B0604020202020204" pitchFamily="34" charset="0"/>
                <a:cs typeface="Arial" panose="020B0604020202020204" pitchFamily="34" charset="0"/>
              </a:rPr>
              <a:t> ja </a:t>
            </a:r>
            <a:r>
              <a:rPr lang="sv-SE" sz="1800" err="1">
                <a:latin typeface="Arial" panose="020B0604020202020204" pitchFamily="34" charset="0"/>
                <a:cs typeface="Arial" panose="020B0604020202020204" pitchFamily="34" charset="0"/>
              </a:rPr>
              <a:t>rekisteröitte</a:t>
            </a:r>
            <a:r>
              <a:rPr lang="sv-SE" sz="1800">
                <a:latin typeface="Arial" panose="020B0604020202020204" pitchFamily="34" charset="0"/>
                <a:cs typeface="Arial" panose="020B0604020202020204" pitchFamily="34" charset="0"/>
              </a:rPr>
              <a:t> 1. </a:t>
            </a:r>
            <a:r>
              <a:rPr lang="sv-SE" sz="1800" err="1">
                <a:latin typeface="Arial" panose="020B0604020202020204" pitchFamily="34" charset="0"/>
                <a:cs typeface="Arial" panose="020B0604020202020204" pitchFamily="34" charset="0"/>
              </a:rPr>
              <a:t>kilpailutehtävän</a:t>
            </a:r>
            <a:r>
              <a:rPr lang="sv-SE" sz="18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800" err="1">
                <a:latin typeface="Arial" panose="020B0604020202020204" pitchFamily="34" charset="0"/>
                <a:cs typeface="Arial" panose="020B0604020202020204" pitchFamily="34" charset="0"/>
              </a:rPr>
              <a:t>viimeistään</a:t>
            </a:r>
            <a:r>
              <a:rPr lang="sv-SE" sz="18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800" b="1">
                <a:latin typeface="Arial" panose="020B0604020202020204" pitchFamily="34" charset="0"/>
                <a:cs typeface="Arial" panose="020B0604020202020204" pitchFamily="34" charset="0"/>
              </a:rPr>
              <a:t>29.10.2023</a:t>
            </a:r>
            <a:r>
              <a:rPr lang="sv-SE" sz="18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800" err="1">
                <a:latin typeface="Arial" panose="020B0604020202020204" pitchFamily="34" charset="0"/>
                <a:cs typeface="Arial" panose="020B0604020202020204" pitchFamily="34" charset="0"/>
              </a:rPr>
              <a:t>teillä</a:t>
            </a:r>
            <a:r>
              <a:rPr lang="sv-SE" sz="1800">
                <a:latin typeface="Arial" panose="020B0604020202020204" pitchFamily="34" charset="0"/>
                <a:cs typeface="Arial" panose="020B0604020202020204" pitchFamily="34" charset="0"/>
              </a:rPr>
              <a:t> on </a:t>
            </a:r>
            <a:r>
              <a:rPr lang="sv-SE" sz="1800" err="1">
                <a:latin typeface="Arial" panose="020B0604020202020204" pitchFamily="34" charset="0"/>
                <a:cs typeface="Arial" panose="020B0604020202020204" pitchFamily="34" charset="0"/>
              </a:rPr>
              <a:t>mahdollisuus</a:t>
            </a:r>
            <a:r>
              <a:rPr lang="sv-SE" sz="18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800" err="1">
                <a:latin typeface="Arial" panose="020B0604020202020204" pitchFamily="34" charset="0"/>
                <a:cs typeface="Arial" panose="020B0604020202020204" pitchFamily="34" charset="0"/>
              </a:rPr>
              <a:t>voittaa</a:t>
            </a:r>
            <a:r>
              <a:rPr lang="sv-SE" sz="18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800" err="1">
                <a:latin typeface="Arial" panose="020B0604020202020204" pitchFamily="34" charset="0"/>
                <a:cs typeface="Arial" panose="020B0604020202020204" pitchFamily="34" charset="0"/>
              </a:rPr>
              <a:t>hienoja</a:t>
            </a:r>
            <a:r>
              <a:rPr lang="sv-SE" sz="18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1800" err="1">
                <a:latin typeface="Arial" panose="020B0604020202020204" pitchFamily="34" charset="0"/>
                <a:cs typeface="Arial" panose="020B0604020202020204" pitchFamily="34" charset="0"/>
              </a:rPr>
              <a:t>palkintoja</a:t>
            </a:r>
            <a:r>
              <a:rPr lang="sv-SE" sz="1800">
                <a:latin typeface="Arial" panose="020B0604020202020204" pitchFamily="34" charset="0"/>
                <a:cs typeface="Arial" panose="020B0604020202020204" pitchFamily="34" charset="0"/>
              </a:rPr>
              <a:t> Tetra </a:t>
            </a:r>
            <a:r>
              <a:rPr lang="sv-SE" sz="1800" err="1">
                <a:latin typeface="Arial" panose="020B0604020202020204" pitchFamily="34" charset="0"/>
                <a:cs typeface="Arial" panose="020B0604020202020204" pitchFamily="34" charset="0"/>
              </a:rPr>
              <a:t>Pakilta</a:t>
            </a:r>
            <a:r>
              <a:rPr lang="sv-SE" sz="1800">
                <a:latin typeface="Arial" panose="020B0604020202020204" pitchFamily="34" charset="0"/>
                <a:cs typeface="Arial" panose="020B0604020202020204" pitchFamily="34" charset="0"/>
              </a:rPr>
              <a:t> ja </a:t>
            </a:r>
            <a:r>
              <a:rPr lang="sv-SE" sz="1800" err="1">
                <a:latin typeface="Arial" panose="020B0604020202020204" pitchFamily="34" charset="0"/>
                <a:cs typeface="Arial" panose="020B0604020202020204" pitchFamily="34" charset="0"/>
              </a:rPr>
              <a:t>Ringiltä</a:t>
            </a:r>
            <a:r>
              <a:rPr lang="sv-SE" sz="180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7903343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ubrik 1">
            <a:extLst>
              <a:ext uri="{FF2B5EF4-FFF2-40B4-BE49-F238E27FC236}">
                <a16:creationId xmlns:a16="http://schemas.microsoft.com/office/drawing/2014/main" id="{6E052062-ED9E-344C-9AD0-1F3D689CDC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2328750"/>
            <a:ext cx="4954258" cy="486000"/>
          </a:xfrm>
        </p:spPr>
        <p:txBody>
          <a:bodyPr/>
          <a:lstStyle/>
          <a:p>
            <a:pPr algn="ctr"/>
            <a:r>
              <a:rPr lang="sv-SE" sz="3200" err="1">
                <a:latin typeface="Arial" panose="020B0604020202020204" pitchFamily="34" charset="0"/>
                <a:cs typeface="Arial" panose="020B0604020202020204" pitchFamily="34" charset="0"/>
              </a:rPr>
              <a:t>Onnea</a:t>
            </a:r>
            <a:r>
              <a:rPr lang="sv-SE" sz="32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3200" err="1">
                <a:latin typeface="Arial" panose="020B0604020202020204" pitchFamily="34" charset="0"/>
                <a:cs typeface="Arial" panose="020B0604020202020204" pitchFamily="34" charset="0"/>
              </a:rPr>
              <a:t>kisaan</a:t>
            </a:r>
            <a:r>
              <a:rPr lang="sv-SE" sz="3200"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</a:p>
        </p:txBody>
      </p:sp>
      <p:pic>
        <p:nvPicPr>
          <p:cNvPr id="3" name="Bildobjekt 2">
            <a:extLst>
              <a:ext uri="{FF2B5EF4-FFF2-40B4-BE49-F238E27FC236}">
                <a16:creationId xmlns:a16="http://schemas.microsoft.com/office/drawing/2014/main" id="{EAD49D6E-547C-A14C-B564-649A81C6BB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6029" y="4587974"/>
            <a:ext cx="1152128" cy="317987"/>
          </a:xfrm>
          <a:prstGeom prst="rect">
            <a:avLst/>
          </a:prstGeom>
        </p:spPr>
      </p:pic>
      <p:pic>
        <p:nvPicPr>
          <p:cNvPr id="4" name="Kuva 3">
            <a:extLst>
              <a:ext uri="{FF2B5EF4-FFF2-40B4-BE49-F238E27FC236}">
                <a16:creationId xmlns:a16="http://schemas.microsoft.com/office/drawing/2014/main" id="{1F8825F4-47A3-430F-4825-2EE6DC4F1C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85957" y="3808360"/>
            <a:ext cx="1329043" cy="1335140"/>
          </a:xfrm>
          <a:prstGeom prst="rect">
            <a:avLst/>
          </a:prstGeom>
        </p:spPr>
      </p:pic>
      <p:pic>
        <p:nvPicPr>
          <p:cNvPr id="5" name="Kuva 4" descr="Kuva, joka sisältää kohteen teksti, vaate, henkilö, Jätesäiliö&#10;&#10;Kuvaus luotu automaattisesti">
            <a:extLst>
              <a:ext uri="{FF2B5EF4-FFF2-40B4-BE49-F238E27FC236}">
                <a16:creationId xmlns:a16="http://schemas.microsoft.com/office/drawing/2014/main" id="{7B1FDE55-D025-40FC-095F-F047290E20C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15000" y="0"/>
            <a:ext cx="3429000" cy="5143500"/>
          </a:xfrm>
          <a:prstGeom prst="rect">
            <a:avLst/>
          </a:prstGeom>
        </p:spPr>
      </p:pic>
      <p:pic>
        <p:nvPicPr>
          <p:cNvPr id="6" name="Bildobjekt 5">
            <a:extLst>
              <a:ext uri="{FF2B5EF4-FFF2-40B4-BE49-F238E27FC236}">
                <a16:creationId xmlns:a16="http://schemas.microsoft.com/office/drawing/2014/main" id="{7AD6465C-252D-965B-C21C-425200E32933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7761248" y="197100"/>
            <a:ext cx="1080703" cy="1080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36466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zer_template_012020">
  <a:themeElements>
    <a:clrScheme name="Custom 17">
      <a:dk1>
        <a:srgbClr val="15246B"/>
      </a:dk1>
      <a:lt1>
        <a:srgbClr val="FFFFFF"/>
      </a:lt1>
      <a:dk2>
        <a:srgbClr val="CAA977"/>
      </a:dk2>
      <a:lt2>
        <a:srgbClr val="CA0F7B"/>
      </a:lt2>
      <a:accent1>
        <a:srgbClr val="15246A"/>
      </a:accent1>
      <a:accent2>
        <a:srgbClr val="C9A877"/>
      </a:accent2>
      <a:accent3>
        <a:srgbClr val="E9DAB9"/>
      </a:accent3>
      <a:accent4>
        <a:srgbClr val="82C1C9"/>
      </a:accent4>
      <a:accent5>
        <a:srgbClr val="F3C35D"/>
      </a:accent5>
      <a:accent6>
        <a:srgbClr val="457168"/>
      </a:accent6>
      <a:hlink>
        <a:srgbClr val="B8DA95"/>
      </a:hlink>
      <a:folHlink>
        <a:srgbClr val="2478B6"/>
      </a:folHlink>
    </a:clrScheme>
    <a:fontScheme name="5. General">
      <a:majorFont>
        <a:latin typeface="Arial"/>
        <a:ea typeface="宋体"/>
        <a:cs typeface=""/>
      </a:majorFont>
      <a:minorFont>
        <a:latin typeface="Arial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Tx/>
          <a:buNone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宋体" pitchFamily="2" charset="-122"/>
          </a:defRPr>
        </a:defPPr>
      </a:lstStyle>
    </a:spDef>
    <a:lnDef>
      <a:spPr bwMode="auto">
        <a:noFill/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 algn="l">
          <a:buNone/>
          <a:defRPr dirty="0" smtClean="0"/>
        </a:defPPr>
      </a:lstStyle>
    </a:txDef>
  </a:objectDefaults>
  <a:extraClrSchemeLst>
    <a:extraClrScheme>
      <a:clrScheme name="5. Genera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3">
        <a:dk1>
          <a:srgbClr val="003082"/>
        </a:dk1>
        <a:lt1>
          <a:srgbClr val="FFFFFF"/>
        </a:lt1>
        <a:dk2>
          <a:srgbClr val="003082"/>
        </a:dk2>
        <a:lt2>
          <a:srgbClr val="808080"/>
        </a:lt2>
        <a:accent1>
          <a:srgbClr val="BB6D06"/>
        </a:accent1>
        <a:accent2>
          <a:srgbClr val="9ED4CB"/>
        </a:accent2>
        <a:accent3>
          <a:srgbClr val="FFFFFF"/>
        </a:accent3>
        <a:accent4>
          <a:srgbClr val="00276E"/>
        </a:accent4>
        <a:accent5>
          <a:srgbClr val="DABAAA"/>
        </a:accent5>
        <a:accent6>
          <a:srgbClr val="8FC0B8"/>
        </a:accent6>
        <a:hlink>
          <a:srgbClr val="4799B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14">
        <a:dk1>
          <a:srgbClr val="003082"/>
        </a:dk1>
        <a:lt1>
          <a:srgbClr val="FFFFFF"/>
        </a:lt1>
        <a:dk2>
          <a:srgbClr val="003082"/>
        </a:dk2>
        <a:lt2>
          <a:srgbClr val="808080"/>
        </a:lt2>
        <a:accent1>
          <a:srgbClr val="FCC953"/>
        </a:accent1>
        <a:accent2>
          <a:srgbClr val="9ED4CB"/>
        </a:accent2>
        <a:accent3>
          <a:srgbClr val="FFFFFF"/>
        </a:accent3>
        <a:accent4>
          <a:srgbClr val="00276E"/>
        </a:accent4>
        <a:accent5>
          <a:srgbClr val="FDE1B3"/>
        </a:accent5>
        <a:accent6>
          <a:srgbClr val="8FC0B8"/>
        </a:accent6>
        <a:hlink>
          <a:srgbClr val="4799B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3">
        <a:dk1>
          <a:srgbClr val="003082"/>
        </a:dk1>
        <a:lt1>
          <a:srgbClr val="FFFFFF"/>
        </a:lt1>
        <a:dk2>
          <a:srgbClr val="003082"/>
        </a:dk2>
        <a:lt2>
          <a:srgbClr val="808080"/>
        </a:lt2>
        <a:accent1>
          <a:srgbClr val="BB6D06"/>
        </a:accent1>
        <a:accent2>
          <a:srgbClr val="9ED4CB"/>
        </a:accent2>
        <a:accent3>
          <a:srgbClr val="FFFFFF"/>
        </a:accent3>
        <a:accent4>
          <a:srgbClr val="00276E"/>
        </a:accent4>
        <a:accent5>
          <a:srgbClr val="DABAAA"/>
        </a:accent5>
        <a:accent6>
          <a:srgbClr val="8FC0B8"/>
        </a:accent6>
        <a:hlink>
          <a:srgbClr val="4799B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14">
        <a:dk1>
          <a:srgbClr val="003082"/>
        </a:dk1>
        <a:lt1>
          <a:srgbClr val="FFFFFF"/>
        </a:lt1>
        <a:dk2>
          <a:srgbClr val="003082"/>
        </a:dk2>
        <a:lt2>
          <a:srgbClr val="808080"/>
        </a:lt2>
        <a:accent1>
          <a:srgbClr val="FCC953"/>
        </a:accent1>
        <a:accent2>
          <a:srgbClr val="9ED4CB"/>
        </a:accent2>
        <a:accent3>
          <a:srgbClr val="FFFFFF"/>
        </a:accent3>
        <a:accent4>
          <a:srgbClr val="00276E"/>
        </a:accent4>
        <a:accent5>
          <a:srgbClr val="FDE1B3"/>
        </a:accent5>
        <a:accent6>
          <a:srgbClr val="8FC0B8"/>
        </a:accent6>
        <a:hlink>
          <a:srgbClr val="4799B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15">
        <a:dk1>
          <a:srgbClr val="003082"/>
        </a:dk1>
        <a:lt1>
          <a:srgbClr val="FFFFFF"/>
        </a:lt1>
        <a:dk2>
          <a:srgbClr val="BB5206"/>
        </a:dk2>
        <a:lt2>
          <a:srgbClr val="808080"/>
        </a:lt2>
        <a:accent1>
          <a:srgbClr val="FCC953"/>
        </a:accent1>
        <a:accent2>
          <a:srgbClr val="9ED4CB"/>
        </a:accent2>
        <a:accent3>
          <a:srgbClr val="FFFFFF"/>
        </a:accent3>
        <a:accent4>
          <a:srgbClr val="00276E"/>
        </a:accent4>
        <a:accent5>
          <a:srgbClr val="FDE1B3"/>
        </a:accent5>
        <a:accent6>
          <a:srgbClr val="8FC0B8"/>
        </a:accent6>
        <a:hlink>
          <a:srgbClr val="4799B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16">
        <a:dk1>
          <a:srgbClr val="003082"/>
        </a:dk1>
        <a:lt1>
          <a:srgbClr val="FFFFFF"/>
        </a:lt1>
        <a:dk2>
          <a:srgbClr val="BB5206"/>
        </a:dk2>
        <a:lt2>
          <a:srgbClr val="808080"/>
        </a:lt2>
        <a:accent1>
          <a:srgbClr val="003082"/>
        </a:accent1>
        <a:accent2>
          <a:srgbClr val="4799B6"/>
        </a:accent2>
        <a:accent3>
          <a:srgbClr val="FFFFFF"/>
        </a:accent3>
        <a:accent4>
          <a:srgbClr val="00276E"/>
        </a:accent4>
        <a:accent5>
          <a:srgbClr val="AAADC1"/>
        </a:accent5>
        <a:accent6>
          <a:srgbClr val="3F8AA5"/>
        </a:accent6>
        <a:hlink>
          <a:srgbClr val="BB520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_012020" id="{F8A033E2-6EF7-3041-86EF-21C030848271}" vid="{B79BA3F1-E9D6-044D-9CBE-4CF25D7FCB98}"/>
    </a:ext>
  </a:extLst>
</a:theme>
</file>

<file path=ppt/theme/theme2.xml><?xml version="1.0" encoding="utf-8"?>
<a:theme xmlns:a="http://schemas.openxmlformats.org/drawingml/2006/main" name="Office-te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F3CCFA9C254E7642B58BC538BABBF752" ma:contentTypeVersion="12" ma:contentTypeDescription="Luo uusi asiakirja." ma:contentTypeScope="" ma:versionID="3f8c9c507ef93fd1692bc0d70170c562">
  <xsd:schema xmlns:xsd="http://www.w3.org/2001/XMLSchema" xmlns:xs="http://www.w3.org/2001/XMLSchema" xmlns:p="http://schemas.microsoft.com/office/2006/metadata/properties" xmlns:ns2="4c7d9893-b9b9-4b22-8550-5fbed3ee38c7" xmlns:ns3="a37db001-4657-4784-b29c-1a430f0902f7" targetNamespace="http://schemas.microsoft.com/office/2006/metadata/properties" ma:root="true" ma:fieldsID="2ee1b12288291395193420c3d8ae8253" ns2:_="" ns3:_="">
    <xsd:import namespace="4c7d9893-b9b9-4b22-8550-5fbed3ee38c7"/>
    <xsd:import namespace="a37db001-4657-4784-b29c-1a430f0902f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c7d9893-b9b9-4b22-8550-5fbed3ee38c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Kuvien tunnisteet" ma:readOnly="false" ma:fieldId="{5cf76f15-5ced-4ddc-b409-7134ff3c332f}" ma:taxonomyMulti="true" ma:sspId="da027efc-e661-46dd-ba2c-828b1da82c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7db001-4657-4784-b29c-1a430f0902f7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d27aed86-fd44-4ec6-aff5-c41360955081}" ma:internalName="TaxCatchAll" ma:showField="CatchAllData" ma:web="a37db001-4657-4784-b29c-1a430f0902f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c7d9893-b9b9-4b22-8550-5fbed3ee38c7">
      <Terms xmlns="http://schemas.microsoft.com/office/infopath/2007/PartnerControls"/>
    </lcf76f155ced4ddcb4097134ff3c332f>
    <TaxCatchAll xmlns="a37db001-4657-4784-b29c-1a430f0902f7" xsi:nil="true"/>
  </documentManagement>
</p:properties>
</file>

<file path=customXml/itemProps1.xml><?xml version="1.0" encoding="utf-8"?>
<ds:datastoreItem xmlns:ds="http://schemas.openxmlformats.org/officeDocument/2006/customXml" ds:itemID="{6DB8BB32-4046-4A51-A7E3-BF9DF5BCF1D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c7d9893-b9b9-4b22-8550-5fbed3ee38c7"/>
    <ds:schemaRef ds:uri="a37db001-4657-4784-b29c-1a430f0902f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CC2B82C-1395-4C28-9EA9-597EF30FBB6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A841337-5F41-40DC-9D37-FDD7E86FEB99}">
  <ds:schemaRefs>
    <ds:schemaRef ds:uri="http://purl.org/dc/elements/1.1/"/>
    <ds:schemaRef ds:uri="http://schemas.microsoft.com/office/infopath/2007/PartnerControls"/>
    <ds:schemaRef ds:uri="a37db001-4657-4784-b29c-1a430f0902f7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http://purl.org/dc/terms/"/>
    <ds:schemaRef ds:uri="http://www.w3.org/XML/1998/namespace"/>
    <ds:schemaRef ds:uri="4c7d9893-b9b9-4b22-8550-5fbed3ee38c7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azer_wide_screen</Template>
  <TotalTime>10</TotalTime>
  <Words>248</Words>
  <Application>Microsoft Macintosh PowerPoint</Application>
  <PresentationFormat>Bildspel på skärmen (16:9)</PresentationFormat>
  <Paragraphs>31</Paragraphs>
  <Slides>8</Slides>
  <Notes>1</Notes>
  <HiddenSlides>0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8</vt:i4>
      </vt:variant>
    </vt:vector>
  </HeadingPairs>
  <TitlesOfParts>
    <vt:vector size="14" baseType="lpstr">
      <vt:lpstr>Arial</vt:lpstr>
      <vt:lpstr>ITC Highlander Std Book</vt:lpstr>
      <vt:lpstr>Times</vt:lpstr>
      <vt:lpstr>Times New Roman</vt:lpstr>
      <vt:lpstr>Fazer_template_012020</vt:lpstr>
      <vt:lpstr>think-cell Slide</vt:lpstr>
      <vt:lpstr>Tehtävä 1: Lajittele ja kierrätä</vt:lpstr>
      <vt:lpstr>PowerPoint-presentation</vt:lpstr>
      <vt:lpstr>PowerPoint-presentation</vt:lpstr>
      <vt:lpstr>PowerPoint-presentation</vt:lpstr>
      <vt:lpstr>Esimerkkejä aikaisemmilta kilpailukausilta:</vt:lpstr>
      <vt:lpstr>PowerPoint-presentation</vt:lpstr>
      <vt:lpstr>PowerPoint-presentation</vt:lpstr>
      <vt:lpstr>Onnea kisaan!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ummer Susanna</dc:creator>
  <cp:lastModifiedBy>Helén Magnusson</cp:lastModifiedBy>
  <cp:revision>4</cp:revision>
  <dcterms:created xsi:type="dcterms:W3CDTF">2020-08-03T06:03:57Z</dcterms:created>
  <dcterms:modified xsi:type="dcterms:W3CDTF">2023-08-24T08:34:15Z</dcterms:modified>
  <cp:category>Fazer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3CCFA9C254E7642B58BC538BABBF752</vt:lpwstr>
  </property>
  <property fmtid="{D5CDD505-2E9C-101B-9397-08002B2CF9AE}" pid="3" name="MediaServiceImageTags">
    <vt:lpwstr/>
  </property>
</Properties>
</file>